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Lst>
  <p:notesMasterIdLst>
    <p:notesMasterId r:id="rId20"/>
  </p:notesMasterIdLst>
  <p:handoutMasterIdLst>
    <p:handoutMasterId r:id="rId21"/>
  </p:handoutMasterIdLst>
  <p:sldIdLst>
    <p:sldId id="1277" r:id="rId3"/>
    <p:sldId id="1293" r:id="rId4"/>
    <p:sldId id="1294" r:id="rId5"/>
    <p:sldId id="1296" r:id="rId6"/>
    <p:sldId id="1300" r:id="rId7"/>
    <p:sldId id="1324" r:id="rId8"/>
    <p:sldId id="1325" r:id="rId9"/>
    <p:sldId id="1329" r:id="rId10"/>
    <p:sldId id="1327" r:id="rId11"/>
    <p:sldId id="1328" r:id="rId12"/>
    <p:sldId id="1320" r:id="rId13"/>
    <p:sldId id="1308" r:id="rId14"/>
    <p:sldId id="1326" r:id="rId15"/>
    <p:sldId id="1313" r:id="rId16"/>
    <p:sldId id="1321" r:id="rId17"/>
    <p:sldId id="1322" r:id="rId18"/>
    <p:sldId id="1323" r:id="rId19"/>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00"/>
            <p14:sldId id="1324"/>
            <p14:sldId id="1325"/>
            <p14:sldId id="1329"/>
            <p14:sldId id="1327"/>
            <p14:sldId id="1328"/>
            <p14:sldId id="1320"/>
            <p14:sldId id="1308"/>
            <p14:sldId id="1326"/>
            <p14:sldId id="1313"/>
            <p14:sldId id="1321"/>
            <p14:sldId id="1322"/>
            <p14:sldId id="132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43"/>
    <a:srgbClr val="FFDB69"/>
    <a:srgbClr val="FF7A5B"/>
    <a:srgbClr val="FF3300"/>
    <a:srgbClr val="F5C28F"/>
    <a:srgbClr val="F1CA7B"/>
    <a:srgbClr val="F5AC83"/>
    <a:srgbClr val="FDE3EA"/>
    <a:srgbClr val="F1592F"/>
    <a:srgbClr val="B4F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81" autoAdjust="0"/>
    <p:restoredTop sz="94548" autoAdjust="0"/>
  </p:normalViewPr>
  <p:slideViewPr>
    <p:cSldViewPr snapToGrid="0">
      <p:cViewPr varScale="1">
        <p:scale>
          <a:sx n="83" d="100"/>
          <a:sy n="83" d="100"/>
        </p:scale>
        <p:origin x="864" y="67"/>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List_aplikace_Microsoft_Excel.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List_aplikace_Microsoft_Excel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691743527347279E-2"/>
          <c:y val="3.1245307675528175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244</c:v>
                </c:pt>
                <c:pt idx="1">
                  <c:v>234</c:v>
                </c:pt>
                <c:pt idx="2">
                  <c:v>247</c:v>
                </c:pt>
                <c:pt idx="3">
                  <c:v>302</c:v>
                </c:pt>
                <c:pt idx="4">
                  <c:v>302</c:v>
                </c:pt>
                <c:pt idx="5">
                  <c:v>326</c:v>
                </c:pt>
                <c:pt idx="6">
                  <c:v>316</c:v>
                </c:pt>
                <c:pt idx="7">
                  <c:v>344</c:v>
                </c:pt>
                <c:pt idx="8">
                  <c:v>333</c:v>
                </c:pt>
                <c:pt idx="9">
                  <c:v>350</c:v>
                </c:pt>
                <c:pt idx="10">
                  <c:v>425</c:v>
                </c:pt>
                <c:pt idx="11">
                  <c:v>444</c:v>
                </c:pt>
                <c:pt idx="12">
                  <c:v>470</c:v>
                </c:pt>
                <c:pt idx="13">
                  <c:v>496</c:v>
                </c:pt>
                <c:pt idx="14">
                  <c:v>527</c:v>
                </c:pt>
                <c:pt idx="15">
                  <c:v>515</c:v>
                </c:pt>
                <c:pt idx="16">
                  <c:v>541</c:v>
                </c:pt>
                <c:pt idx="17">
                  <c:v>662</c:v>
                </c:pt>
                <c:pt idx="18">
                  <c:v>725</c:v>
                </c:pt>
                <c:pt idx="19">
                  <c:v>795</c:v>
                </c:pt>
                <c:pt idx="20">
                  <c:v>838</c:v>
                </c:pt>
                <c:pt idx="21">
                  <c:v>919</c:v>
                </c:pt>
                <c:pt idx="22">
                  <c:v>927</c:v>
                </c:pt>
                <c:pt idx="23">
                  <c:v>990</c:v>
                </c:pt>
                <c:pt idx="24">
                  <c:v>1172</c:v>
                </c:pt>
                <c:pt idx="25">
                  <c:v>1293</c:v>
                </c:pt>
                <c:pt idx="26">
                  <c:v>1395</c:v>
                </c:pt>
                <c:pt idx="27">
                  <c:v>1389</c:v>
                </c:pt>
                <c:pt idx="28">
                  <c:v>1577</c:v>
                </c:pt>
                <c:pt idx="29">
                  <c:v>1596</c:v>
                </c:pt>
                <c:pt idx="30">
                  <c:v>1729</c:v>
                </c:pt>
                <c:pt idx="31">
                  <c:v>2101</c:v>
                </c:pt>
                <c:pt idx="32">
                  <c:v>2291</c:v>
                </c:pt>
                <c:pt idx="33">
                  <c:v>2493</c:v>
                </c:pt>
                <c:pt idx="34">
                  <c:v>2657</c:v>
                </c:pt>
                <c:pt idx="35">
                  <c:v>2793</c:v>
                </c:pt>
                <c:pt idx="36">
                  <c:v>2799</c:v>
                </c:pt>
                <c:pt idx="37">
                  <c:v>2949</c:v>
                </c:pt>
                <c:pt idx="38">
                  <c:v>3403</c:v>
                </c:pt>
                <c:pt idx="39">
                  <c:v>3587</c:v>
                </c:pt>
                <c:pt idx="40">
                  <c:v>3727</c:v>
                </c:pt>
                <c:pt idx="41">
                  <c:v>3862</c:v>
                </c:pt>
                <c:pt idx="42">
                  <c:v>4009</c:v>
                </c:pt>
                <c:pt idx="43">
                  <c:v>3892</c:v>
                </c:pt>
                <c:pt idx="44">
                  <c:v>4009</c:v>
                </c:pt>
                <c:pt idx="45">
                  <c:v>4590</c:v>
                </c:pt>
                <c:pt idx="46">
                  <c:v>4574</c:v>
                </c:pt>
              </c:numCache>
            </c:numRef>
          </c:val>
          <c:extLst>
            <c:ext xmlns:c16="http://schemas.microsoft.com/office/drawing/2014/chart" uri="{C3380CC4-5D6E-409C-BE32-E72D297353CC}">
              <c16:uniqueId val="{00000000-956E-4A76-B74C-E594C511A468}"/>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956E-4A76-B74C-E594C511A468}"/>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3874.8266915745994</c:v>
                </c:pt>
                <c:pt idx="43">
                  <c:v>4000.7649631137347</c:v>
                </c:pt>
                <c:pt idx="44">
                  <c:v>4126.3636197642336</c:v>
                </c:pt>
                <c:pt idx="45">
                  <c:v>4246.8519586359671</c:v>
                </c:pt>
                <c:pt idx="46">
                  <c:v>4357.7449058198672</c:v>
                </c:pt>
                <c:pt idx="47">
                  <c:v>4461.1798325185819</c:v>
                </c:pt>
                <c:pt idx="48">
                  <c:v>4561.4503701634731</c:v>
                </c:pt>
                <c:pt idx="49">
                  <c:v>4660.4655418011025</c:v>
                </c:pt>
                <c:pt idx="50">
                  <c:v>4757.6593438429773</c:v>
                </c:pt>
                <c:pt idx="51">
                  <c:v>4858.1037055510278</c:v>
                </c:pt>
                <c:pt idx="52">
                  <c:v>4955.2698137298621</c:v>
                </c:pt>
                <c:pt idx="53">
                  <c:v>5037.851718867676</c:v>
                </c:pt>
                <c:pt idx="54">
                  <c:v>5112.8062867582794</c:v>
                </c:pt>
                <c:pt idx="55">
                  <c:v>5184.8357063969961</c:v>
                </c:pt>
                <c:pt idx="56">
                  <c:v>5255.5396750814843</c:v>
                </c:pt>
                <c:pt idx="57">
                  <c:v>5325.598673688386</c:v>
                </c:pt>
                <c:pt idx="58">
                  <c:v>5394.5302687169533</c:v>
                </c:pt>
                <c:pt idx="59">
                  <c:v>5461.5112579097104</c:v>
                </c:pt>
                <c:pt idx="60">
                  <c:v>5523.106765469247</c:v>
                </c:pt>
                <c:pt idx="61">
                  <c:v>5579.9682808836278</c:v>
                </c:pt>
                <c:pt idx="62">
                  <c:v>5632.7848342359175</c:v>
                </c:pt>
                <c:pt idx="63">
                  <c:v>5681.9344968879614</c:v>
                </c:pt>
                <c:pt idx="64">
                  <c:v>5726.9117901050686</c:v>
                </c:pt>
                <c:pt idx="65">
                  <c:v>5768.6191703553777</c:v>
                </c:pt>
                <c:pt idx="66">
                  <c:v>5806.3310357463051</c:v>
                </c:pt>
                <c:pt idx="67">
                  <c:v>5840.2229265257083</c:v>
                </c:pt>
                <c:pt idx="68">
                  <c:v>5868.9282885581733</c:v>
                </c:pt>
                <c:pt idx="69">
                  <c:v>5893.066540476213</c:v>
                </c:pt>
                <c:pt idx="70">
                  <c:v>5913.1832379434609</c:v>
                </c:pt>
                <c:pt idx="71">
                  <c:v>5927.2707698645754</c:v>
                </c:pt>
                <c:pt idx="72">
                  <c:v>5936.7406334869083</c:v>
                </c:pt>
                <c:pt idx="73">
                  <c:v>5941.7682210099574</c:v>
                </c:pt>
                <c:pt idx="74">
                  <c:v>5941.4840299436837</c:v>
                </c:pt>
                <c:pt idx="75">
                  <c:v>5936.1953895340221</c:v>
                </c:pt>
                <c:pt idx="76">
                  <c:v>5926.0593653684864</c:v>
                </c:pt>
                <c:pt idx="77">
                  <c:v>5911.4925302807624</c:v>
                </c:pt>
                <c:pt idx="78">
                  <c:v>5891.1145246271153</c:v>
                </c:pt>
                <c:pt idx="79">
                  <c:v>5866.1678405466046</c:v>
                </c:pt>
                <c:pt idx="80">
                  <c:v>5836.6640093508631</c:v>
                </c:pt>
                <c:pt idx="81">
                  <c:v>5801.8842766630696</c:v>
                </c:pt>
                <c:pt idx="82">
                  <c:v>5762.0073052004482</c:v>
                </c:pt>
                <c:pt idx="83">
                  <c:v>5718.2310743467178</c:v>
                </c:pt>
                <c:pt idx="84">
                  <c:v>5670.1237920150879</c:v>
                </c:pt>
                <c:pt idx="85">
                  <c:v>5616.8306867096635</c:v>
                </c:pt>
                <c:pt idx="86">
                  <c:v>5560.449341745787</c:v>
                </c:pt>
                <c:pt idx="87">
                  <c:v>5500.5212514270279</c:v>
                </c:pt>
                <c:pt idx="88">
                  <c:v>5434.9249047022322</c:v>
                </c:pt>
                <c:pt idx="89">
                  <c:v>5366.4713539503809</c:v>
                </c:pt>
                <c:pt idx="90">
                  <c:v>5295.1997817793708</c:v>
                </c:pt>
                <c:pt idx="91">
                  <c:v>5220.5883678919135</c:v>
                </c:pt>
                <c:pt idx="92">
                  <c:v>5141.6385683384124</c:v>
                </c:pt>
                <c:pt idx="93">
                  <c:v>5059.7844572957156</c:v>
                </c:pt>
                <c:pt idx="94">
                  <c:v>4975.6441177210791</c:v>
                </c:pt>
                <c:pt idx="95">
                  <c:v>4888.9152696888113</c:v>
                </c:pt>
              </c:numCache>
            </c:numRef>
          </c:val>
          <c:smooth val="0"/>
          <c:extLst>
            <c:ext xmlns:c16="http://schemas.microsoft.com/office/drawing/2014/chart" uri="{C3380CC4-5D6E-409C-BE32-E72D297353CC}">
              <c16:uniqueId val="{00000002-956E-4A76-B74C-E594C511A468}"/>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3883.7724957326491</c:v>
                </c:pt>
                <c:pt idx="43">
                  <c:v>4021.8651703173618</c:v>
                </c:pt>
                <c:pt idx="44">
                  <c:v>4163.0571947267417</c:v>
                </c:pt>
                <c:pt idx="45">
                  <c:v>4302.6712117083389</c:v>
                </c:pt>
                <c:pt idx="46">
                  <c:v>4436.3983667800385</c:v>
                </c:pt>
                <c:pt idx="47">
                  <c:v>4566.3664649222883</c:v>
                </c:pt>
                <c:pt idx="48">
                  <c:v>4696.9225458938081</c:v>
                </c:pt>
                <c:pt idx="49">
                  <c:v>4829.8886898653491</c:v>
                </c:pt>
                <c:pt idx="50">
                  <c:v>4964.6851723175714</c:v>
                </c:pt>
                <c:pt idx="51">
                  <c:v>5106.2691649077651</c:v>
                </c:pt>
                <c:pt idx="52">
                  <c:v>5248.0490617810719</c:v>
                </c:pt>
                <c:pt idx="53">
                  <c:v>5378.5801272190911</c:v>
                </c:pt>
                <c:pt idx="54">
                  <c:v>5504.7041800399766</c:v>
                </c:pt>
                <c:pt idx="55">
                  <c:v>5630.9313152074346</c:v>
                </c:pt>
                <c:pt idx="56">
                  <c:v>5758.5854770970145</c:v>
                </c:pt>
                <c:pt idx="57">
                  <c:v>5887.8355049395113</c:v>
                </c:pt>
                <c:pt idx="58">
                  <c:v>6018.036375473841</c:v>
                </c:pt>
                <c:pt idx="59">
                  <c:v>6148.1174291578545</c:v>
                </c:pt>
                <c:pt idx="60">
                  <c:v>6274.4753812746858</c:v>
                </c:pt>
                <c:pt idx="61">
                  <c:v>6397.4250467610227</c:v>
                </c:pt>
                <c:pt idx="62">
                  <c:v>6517.4063018172365</c:v>
                </c:pt>
                <c:pt idx="63">
                  <c:v>6634.4979616464334</c:v>
                </c:pt>
                <c:pt idx="64">
                  <c:v>6747.8381258254449</c:v>
                </c:pt>
                <c:pt idx="65">
                  <c:v>6858.0152150647627</c:v>
                </c:pt>
                <c:pt idx="66">
                  <c:v>6964.0475227458237</c:v>
                </c:pt>
                <c:pt idx="67">
                  <c:v>7065.8127870876533</c:v>
                </c:pt>
                <c:pt idx="68">
                  <c:v>7161.6785672445494</c:v>
                </c:pt>
                <c:pt idx="69">
                  <c:v>7251.9875202190015</c:v>
                </c:pt>
                <c:pt idx="70">
                  <c:v>7336.997413029294</c:v>
                </c:pt>
                <c:pt idx="71">
                  <c:v>7414.4261695508612</c:v>
                </c:pt>
                <c:pt idx="72">
                  <c:v>7485.4020724328948</c:v>
                </c:pt>
                <c:pt idx="73">
                  <c:v>7549.8552017784714</c:v>
                </c:pt>
                <c:pt idx="74">
                  <c:v>7606.6812658407434</c:v>
                </c:pt>
                <c:pt idx="75">
                  <c:v>7655.9601133157566</c:v>
                </c:pt>
                <c:pt idx="76">
                  <c:v>7697.6356567036783</c:v>
                </c:pt>
                <c:pt idx="77">
                  <c:v>7731.9422521323904</c:v>
                </c:pt>
                <c:pt idx="78">
                  <c:v>7757.3172289474414</c:v>
                </c:pt>
                <c:pt idx="79">
                  <c:v>7774.8523594207973</c:v>
                </c:pt>
                <c:pt idx="80">
                  <c:v>7784.4222024789415</c:v>
                </c:pt>
                <c:pt idx="81">
                  <c:v>7785.1904771195777</c:v>
                </c:pt>
                <c:pt idx="82">
                  <c:v>7777.2303691396628</c:v>
                </c:pt>
                <c:pt idx="83">
                  <c:v>7761.6674912508715</c:v>
                </c:pt>
                <c:pt idx="84">
                  <c:v>7738.0130518590768</c:v>
                </c:pt>
                <c:pt idx="85">
                  <c:v>7705.3756244397237</c:v>
                </c:pt>
                <c:pt idx="86">
                  <c:v>7665.8362387460747</c:v>
                </c:pt>
                <c:pt idx="87">
                  <c:v>7618.939138221861</c:v>
                </c:pt>
                <c:pt idx="88">
                  <c:v>7562.5763308956839</c:v>
                </c:pt>
                <c:pt idx="89">
                  <c:v>7499.603342788907</c:v>
                </c:pt>
                <c:pt idx="90">
                  <c:v>7430.1080738058808</c:v>
                </c:pt>
                <c:pt idx="91">
                  <c:v>7353.6387736028446</c:v>
                </c:pt>
                <c:pt idx="92">
                  <c:v>7269.1761846328609</c:v>
                </c:pt>
                <c:pt idx="93">
                  <c:v>7178.3251169050309</c:v>
                </c:pt>
                <c:pt idx="94">
                  <c:v>7081.8141108436248</c:v>
                </c:pt>
                <c:pt idx="95">
                  <c:v>6979.463472041527</c:v>
                </c:pt>
              </c:numCache>
            </c:numRef>
          </c:val>
          <c:smooth val="0"/>
          <c:extLst>
            <c:ext xmlns:c16="http://schemas.microsoft.com/office/drawing/2014/chart" uri="{C3380CC4-5D6E-409C-BE32-E72D297353CC}">
              <c16:uniqueId val="{00000003-956E-4A76-B74C-E594C511A468}"/>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3892.7752822914981</c:v>
                </c:pt>
                <c:pt idx="43">
                  <c:v>4043.1687347470597</c:v>
                </c:pt>
                <c:pt idx="44">
                  <c:v>4200.2470000448029</c:v>
                </c:pt>
                <c:pt idx="45">
                  <c:v>4359.4916428298739</c:v>
                </c:pt>
                <c:pt idx="46">
                  <c:v>4516.8426085193496</c:v>
                </c:pt>
                <c:pt idx="47">
                  <c:v>4674.49501363325</c:v>
                </c:pt>
                <c:pt idx="48">
                  <c:v>4836.9296358195488</c:v>
                </c:pt>
                <c:pt idx="49">
                  <c:v>5005.9629248299834</c:v>
                </c:pt>
                <c:pt idx="50">
                  <c:v>5181.0823628909475</c:v>
                </c:pt>
                <c:pt idx="51">
                  <c:v>5367.2087561997469</c:v>
                </c:pt>
                <c:pt idx="52">
                  <c:v>5557.7622339853688</c:v>
                </c:pt>
                <c:pt idx="53">
                  <c:v>5741.227412579784</c:v>
                </c:pt>
                <c:pt idx="54">
                  <c:v>5924.3916908957708</c:v>
                </c:pt>
                <c:pt idx="55">
                  <c:v>6111.6242528419043</c:v>
                </c:pt>
                <c:pt idx="56">
                  <c:v>6304.0139361848642</c:v>
                </c:pt>
                <c:pt idx="57">
                  <c:v>6501.2446122618303</c:v>
                </c:pt>
                <c:pt idx="58">
                  <c:v>6702.5228306654781</c:v>
                </c:pt>
                <c:pt idx="59">
                  <c:v>6906.5301863113755</c:v>
                </c:pt>
                <c:pt idx="60">
                  <c:v>7109.4791726113908</c:v>
                </c:pt>
                <c:pt idx="61">
                  <c:v>7311.3153925703818</c:v>
                </c:pt>
                <c:pt idx="62">
                  <c:v>7512.1806540221523</c:v>
                </c:pt>
                <c:pt idx="63">
                  <c:v>7711.789297014001</c:v>
                </c:pt>
                <c:pt idx="64">
                  <c:v>7908.8414601342893</c:v>
                </c:pt>
                <c:pt idx="65">
                  <c:v>8103.5161819879359</c:v>
                </c:pt>
                <c:pt idx="66">
                  <c:v>8294.4674585003886</c:v>
                </c:pt>
                <c:pt idx="67">
                  <c:v>8481.1526524327164</c:v>
                </c:pt>
                <c:pt idx="68">
                  <c:v>8661.5385703678348</c:v>
                </c:pt>
                <c:pt idx="69">
                  <c:v>8835.5454934832705</c:v>
                </c:pt>
                <c:pt idx="70">
                  <c:v>9002.9890621874674</c:v>
                </c:pt>
                <c:pt idx="71">
                  <c:v>9161.1516483523119</c:v>
                </c:pt>
                <c:pt idx="72">
                  <c:v>9310.7132913458499</c:v>
                </c:pt>
                <c:pt idx="73">
                  <c:v>9451.1919071894808</c:v>
                </c:pt>
                <c:pt idx="74">
                  <c:v>9581.0814534073234</c:v>
                </c:pt>
                <c:pt idx="75">
                  <c:v>9700.0694388859665</c:v>
                </c:pt>
                <c:pt idx="76">
                  <c:v>9807.7261848728922</c:v>
                </c:pt>
                <c:pt idx="77">
                  <c:v>9903.950113379924</c:v>
                </c:pt>
                <c:pt idx="78">
                  <c:v>9986.8513187595854</c:v>
                </c:pt>
                <c:pt idx="79">
                  <c:v>10057.23677196085</c:v>
                </c:pt>
                <c:pt idx="80">
                  <c:v>10114.722469341128</c:v>
                </c:pt>
                <c:pt idx="81">
                  <c:v>10158.247083233071</c:v>
                </c:pt>
                <c:pt idx="82">
                  <c:v>10187.686256884104</c:v>
                </c:pt>
                <c:pt idx="83">
                  <c:v>10204.017835551909</c:v>
                </c:pt>
                <c:pt idx="84">
                  <c:v>10206.638131698184</c:v>
                </c:pt>
                <c:pt idx="85">
                  <c:v>10194.579248587939</c:v>
                </c:pt>
                <c:pt idx="86">
                  <c:v>10169.884223290055</c:v>
                </c:pt>
                <c:pt idx="87">
                  <c:v>10132.096963673483</c:v>
                </c:pt>
                <c:pt idx="88">
                  <c:v>10079.137980044037</c:v>
                </c:pt>
                <c:pt idx="89">
                  <c:v>10013.939924979448</c:v>
                </c:pt>
                <c:pt idx="90">
                  <c:v>9936.6889466502071</c:v>
                </c:pt>
                <c:pt idx="91">
                  <c:v>9847.0688784891008</c:v>
                </c:pt>
                <c:pt idx="92">
                  <c:v>9744.119440610757</c:v>
                </c:pt>
                <c:pt idx="93">
                  <c:v>9629.7096549604648</c:v>
                </c:pt>
                <c:pt idx="94">
                  <c:v>9504.7837788229663</c:v>
                </c:pt>
                <c:pt idx="95">
                  <c:v>9369.4003694873318</c:v>
                </c:pt>
              </c:numCache>
            </c:numRef>
          </c:val>
          <c:smooth val="0"/>
          <c:extLst>
            <c:ext xmlns:c16="http://schemas.microsoft.com/office/drawing/2014/chart" uri="{C3380CC4-5D6E-409C-BE32-E72D297353CC}">
              <c16:uniqueId val="{00000004-956E-4A76-B74C-E594C511A468}"/>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956E-4A76-B74C-E594C511A468}"/>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w="9525">
            <a:solidFill>
              <a:srgbClr val="000000"/>
            </a:solidFill>
          </a:ln>
          <a:effectLst/>
        </c:spPr>
        <c:txPr>
          <a:bodyPr rot="-60000000" vert="horz"/>
          <a:lstStyle/>
          <a:p>
            <a:pPr>
              <a:defRPr sz="1200"/>
            </a:pPr>
            <a:endParaRPr lang="cs-CZ"/>
          </a:p>
        </c:txPr>
        <c:crossAx val="298003144"/>
        <c:crosses val="autoZero"/>
        <c:crossBetween val="between"/>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312831999110914E-2"/>
          <c:y val="3.1245288723291253E-2"/>
          <c:w val="0.73928602709714164"/>
          <c:h val="0.77635602480605292"/>
        </c:manualLayout>
      </c:layout>
      <c:barChart>
        <c:barDir val="col"/>
        <c:grouping val="clustered"/>
        <c:varyColors val="0"/>
        <c:ser>
          <c:idx val="5"/>
          <c:order val="5"/>
          <c:tx>
            <c:v>reálná hodnota</c:v>
          </c:tx>
          <c:spPr>
            <a:solidFill>
              <a:schemeClr val="bg1">
                <a:lumMod val="65000"/>
              </a:schemeClr>
            </a:solidFill>
          </c:spPr>
          <c:invertIfNegative val="0"/>
          <c:dLbls>
            <c:numFmt formatCode="_-* #\ ##0_-;\-* #\ ##0_-;_-* &quot;&quot;??_-;_-@_-" sourceLinked="0"/>
            <c:spPr>
              <a:noFill/>
              <a:ln>
                <a:noFill/>
              </a:ln>
              <a:effectLst/>
            </c:spPr>
            <c:txPr>
              <a:bodyPr rot="-5400000" vert="horz"/>
              <a:lstStyle/>
              <a:p>
                <a:pPr>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7:$CS$7</c:f>
              <c:numCache>
                <c:formatCode>General</c:formatCode>
                <c:ptCount val="96"/>
                <c:pt idx="0">
                  <c:v>45</c:v>
                </c:pt>
                <c:pt idx="1">
                  <c:v>44</c:v>
                </c:pt>
                <c:pt idx="2">
                  <c:v>52</c:v>
                </c:pt>
                <c:pt idx="3">
                  <c:v>58</c:v>
                </c:pt>
                <c:pt idx="4">
                  <c:v>72</c:v>
                </c:pt>
                <c:pt idx="5">
                  <c:v>86</c:v>
                </c:pt>
                <c:pt idx="6">
                  <c:v>75</c:v>
                </c:pt>
                <c:pt idx="7">
                  <c:v>78</c:v>
                </c:pt>
                <c:pt idx="8">
                  <c:v>77</c:v>
                </c:pt>
                <c:pt idx="9">
                  <c:v>77</c:v>
                </c:pt>
                <c:pt idx="10">
                  <c:v>99</c:v>
                </c:pt>
                <c:pt idx="11">
                  <c:v>113</c:v>
                </c:pt>
                <c:pt idx="12">
                  <c:v>114</c:v>
                </c:pt>
                <c:pt idx="13">
                  <c:v>116</c:v>
                </c:pt>
                <c:pt idx="14">
                  <c:v>115</c:v>
                </c:pt>
                <c:pt idx="15">
                  <c:v>112</c:v>
                </c:pt>
                <c:pt idx="16">
                  <c:v>116</c:v>
                </c:pt>
                <c:pt idx="17">
                  <c:v>133</c:v>
                </c:pt>
                <c:pt idx="18">
                  <c:v>146</c:v>
                </c:pt>
                <c:pt idx="19">
                  <c:v>138</c:v>
                </c:pt>
                <c:pt idx="20">
                  <c:v>142</c:v>
                </c:pt>
                <c:pt idx="21">
                  <c:v>152</c:v>
                </c:pt>
                <c:pt idx="22">
                  <c:v>150</c:v>
                </c:pt>
                <c:pt idx="23">
                  <c:v>162</c:v>
                </c:pt>
                <c:pt idx="24">
                  <c:v>170</c:v>
                </c:pt>
                <c:pt idx="25">
                  <c:v>192</c:v>
                </c:pt>
                <c:pt idx="26">
                  <c:v>215</c:v>
                </c:pt>
                <c:pt idx="27">
                  <c:v>209</c:v>
                </c:pt>
                <c:pt idx="28">
                  <c:v>236</c:v>
                </c:pt>
                <c:pt idx="29">
                  <c:v>238</c:v>
                </c:pt>
                <c:pt idx="30">
                  <c:v>267</c:v>
                </c:pt>
                <c:pt idx="31">
                  <c:v>311</c:v>
                </c:pt>
                <c:pt idx="32">
                  <c:v>317</c:v>
                </c:pt>
                <c:pt idx="33">
                  <c:v>345</c:v>
                </c:pt>
                <c:pt idx="34">
                  <c:v>345</c:v>
                </c:pt>
                <c:pt idx="35">
                  <c:v>384</c:v>
                </c:pt>
                <c:pt idx="36">
                  <c:v>389</c:v>
                </c:pt>
                <c:pt idx="37">
                  <c:v>424</c:v>
                </c:pt>
                <c:pt idx="38">
                  <c:v>470</c:v>
                </c:pt>
                <c:pt idx="39">
                  <c:v>485</c:v>
                </c:pt>
                <c:pt idx="40">
                  <c:v>509</c:v>
                </c:pt>
                <c:pt idx="41">
                  <c:v>517</c:v>
                </c:pt>
                <c:pt idx="42">
                  <c:v>526</c:v>
                </c:pt>
                <c:pt idx="43">
                  <c:v>553</c:v>
                </c:pt>
                <c:pt idx="44">
                  <c:v>593</c:v>
                </c:pt>
                <c:pt idx="45">
                  <c:v>634</c:v>
                </c:pt>
                <c:pt idx="46">
                  <c:v>632</c:v>
                </c:pt>
              </c:numCache>
            </c:numRef>
          </c:val>
          <c:extLst>
            <c:ext xmlns:c16="http://schemas.microsoft.com/office/drawing/2014/chart" uri="{C3380CC4-5D6E-409C-BE32-E72D297353CC}">
              <c16:uniqueId val="{00000000-3234-417C-A836-04015F5B3963}"/>
            </c:ext>
          </c:extLst>
        </c:ser>
        <c:dLbls>
          <c:showLegendKey val="0"/>
          <c:showVal val="0"/>
          <c:showCatName val="0"/>
          <c:showSerName val="0"/>
          <c:showPercent val="0"/>
          <c:showBubbleSize val="0"/>
        </c:dLbls>
        <c:gapWidth val="50"/>
        <c:axId val="298003144"/>
        <c:axId val="298003536"/>
      </c:barChart>
      <c:lineChart>
        <c:grouping val="standard"/>
        <c:varyColors val="0"/>
        <c:ser>
          <c:idx val="3"/>
          <c:order val="0"/>
          <c:tx>
            <c:v>sc.0</c:v>
          </c:tx>
          <c:spPr>
            <a:ln w="28575">
              <a:solidFill>
                <a:schemeClr val="accent4"/>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2:$CS$2</c:f>
              <c:numCache>
                <c:formatCode>General</c:formatCode>
                <c:ptCount val="96"/>
              </c:numCache>
            </c:numRef>
          </c:val>
          <c:smooth val="0"/>
          <c:extLst>
            <c:ext xmlns:c16="http://schemas.microsoft.com/office/drawing/2014/chart" uri="{C3380CC4-5D6E-409C-BE32-E72D297353CC}">
              <c16:uniqueId val="{00000001-3234-417C-A836-04015F5B3963}"/>
            </c:ext>
          </c:extLst>
        </c:ser>
        <c:ser>
          <c:idx val="2"/>
          <c:order val="1"/>
          <c:tx>
            <c:v>sc.1</c:v>
          </c:tx>
          <c:spPr>
            <a:ln w="28575" cap="rnd">
              <a:solidFill>
                <a:srgbClr val="FF66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3:$CS$3</c:f>
              <c:numCache>
                <c:formatCode>General</c:formatCode>
                <c:ptCount val="96"/>
                <c:pt idx="42">
                  <c:v>538.34653645065316</c:v>
                </c:pt>
                <c:pt idx="43">
                  <c:v>566.3775340375945</c:v>
                </c:pt>
                <c:pt idx="44">
                  <c:v>593.53728122139341</c:v>
                </c:pt>
                <c:pt idx="45">
                  <c:v>619.29628634537175</c:v>
                </c:pt>
                <c:pt idx="46">
                  <c:v>644.79770503473469</c:v>
                </c:pt>
                <c:pt idx="47">
                  <c:v>670.44258291493816</c:v>
                </c:pt>
                <c:pt idx="48">
                  <c:v>695.53842156704866</c:v>
                </c:pt>
                <c:pt idx="49">
                  <c:v>719.85190196455505</c:v>
                </c:pt>
                <c:pt idx="50">
                  <c:v>742.00043602806977</c:v>
                </c:pt>
                <c:pt idx="51">
                  <c:v>763.64898141441938</c:v>
                </c:pt>
                <c:pt idx="52">
                  <c:v>784.57780034781422</c:v>
                </c:pt>
                <c:pt idx="53">
                  <c:v>805.25814425479871</c:v>
                </c:pt>
                <c:pt idx="54">
                  <c:v>824.18597696438064</c:v>
                </c:pt>
                <c:pt idx="55">
                  <c:v>842.13561239532044</c:v>
                </c:pt>
                <c:pt idx="56">
                  <c:v>859.80376950117602</c:v>
                </c:pt>
                <c:pt idx="57">
                  <c:v>876.3469461229945</c:v>
                </c:pt>
                <c:pt idx="58">
                  <c:v>891.94882551208582</c:v>
                </c:pt>
                <c:pt idx="59">
                  <c:v>906.52036102609327</c:v>
                </c:pt>
                <c:pt idx="60">
                  <c:v>920.58325715208446</c:v>
                </c:pt>
                <c:pt idx="61">
                  <c:v>933.55536588028576</c:v>
                </c:pt>
                <c:pt idx="62">
                  <c:v>945.42822341929059</c:v>
                </c:pt>
                <c:pt idx="63">
                  <c:v>956.48680799755061</c:v>
                </c:pt>
                <c:pt idx="64">
                  <c:v>966.91252893245849</c:v>
                </c:pt>
                <c:pt idx="65">
                  <c:v>976.23302503778325</c:v>
                </c:pt>
                <c:pt idx="66">
                  <c:v>984.51664838935426</c:v>
                </c:pt>
                <c:pt idx="67">
                  <c:v>991.93928923474482</c:v>
                </c:pt>
                <c:pt idx="68">
                  <c:v>998.55810901371012</c:v>
                </c:pt>
                <c:pt idx="69">
                  <c:v>1004.3210934838614</c:v>
                </c:pt>
                <c:pt idx="70">
                  <c:v>1009.1809084903009</c:v>
                </c:pt>
                <c:pt idx="71">
                  <c:v>1013.2878832646475</c:v>
                </c:pt>
                <c:pt idx="72">
                  <c:v>1016.4748329969786</c:v>
                </c:pt>
                <c:pt idx="73">
                  <c:v>1018.758024779135</c:v>
                </c:pt>
                <c:pt idx="74">
                  <c:v>1020.0411942973701</c:v>
                </c:pt>
                <c:pt idx="75">
                  <c:v>1020.4768913088463</c:v>
                </c:pt>
                <c:pt idx="76">
                  <c:v>1020.0732762357501</c:v>
                </c:pt>
                <c:pt idx="77">
                  <c:v>1018.8275369639042</c:v>
                </c:pt>
                <c:pt idx="78">
                  <c:v>1016.7053489876225</c:v>
                </c:pt>
                <c:pt idx="79">
                  <c:v>1013.6836793699539</c:v>
                </c:pt>
                <c:pt idx="80">
                  <c:v>1009.8145291756862</c:v>
                </c:pt>
                <c:pt idx="81">
                  <c:v>1005.1240476885005</c:v>
                </c:pt>
                <c:pt idx="82">
                  <c:v>999.62215682422038</c:v>
                </c:pt>
                <c:pt idx="83">
                  <c:v>993.31067810810487</c:v>
                </c:pt>
                <c:pt idx="84">
                  <c:v>986.2174100277025</c:v>
                </c:pt>
                <c:pt idx="85">
                  <c:v>978.3679830502216</c:v>
                </c:pt>
                <c:pt idx="86">
                  <c:v>969.78903810151735</c:v>
                </c:pt>
                <c:pt idx="87">
                  <c:v>960.5030380806902</c:v>
                </c:pt>
                <c:pt idx="88">
                  <c:v>950.54002594936969</c:v>
                </c:pt>
                <c:pt idx="89">
                  <c:v>939.92643156297208</c:v>
                </c:pt>
                <c:pt idx="90">
                  <c:v>928.68679284497784</c:v>
                </c:pt>
                <c:pt idx="91">
                  <c:v>916.85197503342897</c:v>
                </c:pt>
                <c:pt idx="92">
                  <c:v>904.45639301939104</c:v>
                </c:pt>
                <c:pt idx="93">
                  <c:v>891.53295792184622</c:v>
                </c:pt>
                <c:pt idx="94">
                  <c:v>878.11396244792013</c:v>
                </c:pt>
                <c:pt idx="95">
                  <c:v>864.2330139271545</c:v>
                </c:pt>
              </c:numCache>
            </c:numRef>
          </c:val>
          <c:smooth val="0"/>
          <c:extLst>
            <c:ext xmlns:c16="http://schemas.microsoft.com/office/drawing/2014/chart" uri="{C3380CC4-5D6E-409C-BE32-E72D297353CC}">
              <c16:uniqueId val="{00000002-3234-417C-A836-04015F5B3963}"/>
            </c:ext>
          </c:extLst>
        </c:ser>
        <c:ser>
          <c:idx val="1"/>
          <c:order val="2"/>
          <c:tx>
            <c:v>sc.2</c:v>
          </c:tx>
          <c:spPr>
            <a:ln w="28575" cap="rnd">
              <a:solidFill>
                <a:srgbClr val="C00000"/>
              </a:solidFill>
              <a:prstDash val="solid"/>
              <a:round/>
            </a:ln>
            <a:effectLst/>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4:$CS$4</c:f>
              <c:numCache>
                <c:formatCode>General</c:formatCode>
                <c:ptCount val="96"/>
                <c:pt idx="42">
                  <c:v>539.42795017618573</c:v>
                </c:pt>
                <c:pt idx="43">
                  <c:v>568.97315736335486</c:v>
                </c:pt>
                <c:pt idx="44">
                  <c:v>598.1315041085453</c:v>
                </c:pt>
                <c:pt idx="45">
                  <c:v>626.41969743022628</c:v>
                </c:pt>
                <c:pt idx="46">
                  <c:v>655.01089073764501</c:v>
                </c:pt>
                <c:pt idx="47">
                  <c:v>684.35382358599531</c:v>
                </c:pt>
                <c:pt idx="48">
                  <c:v>713.76435200672961</c:v>
                </c:pt>
                <c:pt idx="49">
                  <c:v>743.03004175543219</c:v>
                </c:pt>
                <c:pt idx="50">
                  <c:v>770.766517488506</c:v>
                </c:pt>
                <c:pt idx="51">
                  <c:v>798.64187711591785</c:v>
                </c:pt>
                <c:pt idx="52">
                  <c:v>826.42985741506754</c:v>
                </c:pt>
                <c:pt idx="53">
                  <c:v>854.58263757347913</c:v>
                </c:pt>
                <c:pt idx="54">
                  <c:v>881.58054805199367</c:v>
                </c:pt>
                <c:pt idx="55">
                  <c:v>908.16769807312016</c:v>
                </c:pt>
                <c:pt idx="56">
                  <c:v>935.01565076027282</c:v>
                </c:pt>
                <c:pt idx="57">
                  <c:v>961.24569155628285</c:v>
                </c:pt>
                <c:pt idx="58">
                  <c:v>987.00108213151634</c:v>
                </c:pt>
                <c:pt idx="59">
                  <c:v>1012.1308299236841</c:v>
                </c:pt>
                <c:pt idx="60">
                  <c:v>1037.1199403648313</c:v>
                </c:pt>
                <c:pt idx="61">
                  <c:v>1061.3245002309604</c:v>
                </c:pt>
                <c:pt idx="62">
                  <c:v>1084.6898012894039</c:v>
                </c:pt>
                <c:pt idx="63">
                  <c:v>1107.4567573587524</c:v>
                </c:pt>
                <c:pt idx="64">
                  <c:v>1129.7496142613702</c:v>
                </c:pt>
                <c:pt idx="65">
                  <c:v>1151.0393588208663</c:v>
                </c:pt>
                <c:pt idx="66">
                  <c:v>1171.3422472676352</c:v>
                </c:pt>
                <c:pt idx="67">
                  <c:v>1190.7882001243631</c:v>
                </c:pt>
                <c:pt idx="68">
                  <c:v>1209.3825298062034</c:v>
                </c:pt>
                <c:pt idx="69">
                  <c:v>1227.0219736038248</c:v>
                </c:pt>
                <c:pt idx="70">
                  <c:v>1243.6064356066204</c:v>
                </c:pt>
                <c:pt idx="71">
                  <c:v>1259.2345301756518</c:v>
                </c:pt>
                <c:pt idx="72">
                  <c:v>1273.6862264634728</c:v>
                </c:pt>
                <c:pt idx="73">
                  <c:v>1286.9321870926633</c:v>
                </c:pt>
                <c:pt idx="74">
                  <c:v>1298.8300724689871</c:v>
                </c:pt>
                <c:pt idx="75">
                  <c:v>1309.4916527318251</c:v>
                </c:pt>
                <c:pt idx="76">
                  <c:v>1318.8845836412895</c:v>
                </c:pt>
                <c:pt idx="77">
                  <c:v>1326.9681222485583</c:v>
                </c:pt>
                <c:pt idx="78">
                  <c:v>1333.6690666647505</c:v>
                </c:pt>
                <c:pt idx="79">
                  <c:v>1338.930546977155</c:v>
                </c:pt>
                <c:pt idx="80">
                  <c:v>1342.7774565222339</c:v>
                </c:pt>
                <c:pt idx="81">
                  <c:v>1345.2098877066833</c:v>
                </c:pt>
                <c:pt idx="82">
                  <c:v>1346.2151346762907</c:v>
                </c:pt>
                <c:pt idx="83">
                  <c:v>1345.7758817215599</c:v>
                </c:pt>
                <c:pt idx="84">
                  <c:v>1343.904277604388</c:v>
                </c:pt>
                <c:pt idx="85">
                  <c:v>1340.613916579005</c:v>
                </c:pt>
                <c:pt idx="86">
                  <c:v>1335.9229836655982</c:v>
                </c:pt>
                <c:pt idx="87">
                  <c:v>1329.8490735910939</c:v>
                </c:pt>
                <c:pt idx="88">
                  <c:v>1322.4208701280554</c:v>
                </c:pt>
                <c:pt idx="89">
                  <c:v>1313.6668531908967</c:v>
                </c:pt>
                <c:pt idx="90">
                  <c:v>1303.6168668083906</c:v>
                </c:pt>
                <c:pt idx="91">
                  <c:v>1292.3102075588404</c:v>
                </c:pt>
                <c:pt idx="92">
                  <c:v>1279.7927303310021</c:v>
                </c:pt>
                <c:pt idx="93">
                  <c:v>1266.1116307990249</c:v>
                </c:pt>
                <c:pt idx="94">
                  <c:v>1251.3161224681357</c:v>
                </c:pt>
                <c:pt idx="95">
                  <c:v>1235.4590754803744</c:v>
                </c:pt>
              </c:numCache>
            </c:numRef>
          </c:val>
          <c:smooth val="0"/>
          <c:extLst>
            <c:ext xmlns:c16="http://schemas.microsoft.com/office/drawing/2014/chart" uri="{C3380CC4-5D6E-409C-BE32-E72D297353CC}">
              <c16:uniqueId val="{00000003-3234-417C-A836-04015F5B3963}"/>
            </c:ext>
          </c:extLst>
        </c:ser>
        <c:ser>
          <c:idx val="0"/>
          <c:order val="3"/>
          <c:tx>
            <c:v>sc.3</c:v>
          </c:tx>
          <c:spPr>
            <a:ln w="28575">
              <a:solidFill>
                <a:srgbClr val="690923"/>
              </a:solidFill>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5:$CS$5</c:f>
              <c:numCache>
                <c:formatCode>General</c:formatCode>
                <c:ptCount val="96"/>
                <c:pt idx="42">
                  <c:v>540.51549826427538</c:v>
                </c:pt>
                <c:pt idx="43">
                  <c:v>571.5910858627758</c:v>
                </c:pt>
                <c:pt idx="44">
                  <c:v>602.78128618527444</c:v>
                </c:pt>
                <c:pt idx="45">
                  <c:v>633.65767568492367</c:v>
                </c:pt>
                <c:pt idx="46">
                  <c:v>665.43341592890374</c:v>
                </c:pt>
                <c:pt idx="47">
                  <c:v>698.61618345308102</c:v>
                </c:pt>
                <c:pt idx="48">
                  <c:v>732.54225933768271</c:v>
                </c:pt>
                <c:pt idx="49">
                  <c:v>767.03291820809523</c:v>
                </c:pt>
                <c:pt idx="50">
                  <c:v>800.71516712438824</c:v>
                </c:pt>
                <c:pt idx="51">
                  <c:v>835.27358124687066</c:v>
                </c:pt>
                <c:pt idx="52">
                  <c:v>870.48853065666231</c:v>
                </c:pt>
                <c:pt idx="53">
                  <c:v>906.80570036789447</c:v>
                </c:pt>
                <c:pt idx="54">
                  <c:v>942.70150185963507</c:v>
                </c:pt>
                <c:pt idx="55">
                  <c:v>978.90032392433909</c:v>
                </c:pt>
                <c:pt idx="56">
                  <c:v>1016.0577294254426</c:v>
                </c:pt>
                <c:pt idx="57">
                  <c:v>1053.2672304785012</c:v>
                </c:pt>
                <c:pt idx="58">
                  <c:v>1090.637222738329</c:v>
                </c:pt>
                <c:pt idx="59">
                  <c:v>1127.9581155742762</c:v>
                </c:pt>
                <c:pt idx="60">
                  <c:v>1165.6791847393633</c:v>
                </c:pt>
                <c:pt idx="61">
                  <c:v>1203.0930349235341</c:v>
                </c:pt>
                <c:pt idx="62">
                  <c:v>1240.0942579410014</c:v>
                </c:pt>
                <c:pt idx="63">
                  <c:v>1276.8724773822505</c:v>
                </c:pt>
                <c:pt idx="64">
                  <c:v>1313.4847162796664</c:v>
                </c:pt>
                <c:pt idx="65">
                  <c:v>1349.3326589612561</c:v>
                </c:pt>
                <c:pt idx="66">
                  <c:v>1384.3653204047293</c:v>
                </c:pt>
                <c:pt idx="67">
                  <c:v>1418.648935416436</c:v>
                </c:pt>
                <c:pt idx="68">
                  <c:v>1452.1168655310275</c:v>
                </c:pt>
                <c:pt idx="69">
                  <c:v>1484.5923372331545</c:v>
                </c:pt>
                <c:pt idx="70">
                  <c:v>1515.8983249539224</c:v>
                </c:pt>
                <c:pt idx="71">
                  <c:v>1546.0559322987924</c:v>
                </c:pt>
                <c:pt idx="72">
                  <c:v>1574.7652533883713</c:v>
                </c:pt>
                <c:pt idx="73">
                  <c:v>1601.9234507262049</c:v>
                </c:pt>
                <c:pt idx="74">
                  <c:v>1627.313656451023</c:v>
                </c:pt>
                <c:pt idx="75">
                  <c:v>1650.9782259636629</c:v>
                </c:pt>
                <c:pt idx="76">
                  <c:v>1672.8158770640275</c:v>
                </c:pt>
                <c:pt idx="77">
                  <c:v>1692.7200867042798</c:v>
                </c:pt>
                <c:pt idx="78">
                  <c:v>1710.5518765775907</c:v>
                </c:pt>
                <c:pt idx="79">
                  <c:v>1726.1949688739619</c:v>
                </c:pt>
                <c:pt idx="80">
                  <c:v>1739.6232706404064</c:v>
                </c:pt>
                <c:pt idx="81">
                  <c:v>1750.7889331175338</c:v>
                </c:pt>
                <c:pt idx="82">
                  <c:v>1759.6370090297041</c:v>
                </c:pt>
                <c:pt idx="83">
                  <c:v>1766.1139568243143</c:v>
                </c:pt>
                <c:pt idx="84">
                  <c:v>1770.2019250764154</c:v>
                </c:pt>
                <c:pt idx="85">
                  <c:v>1771.8910267806193</c:v>
                </c:pt>
                <c:pt idx="86">
                  <c:v>1771.1825775644397</c:v>
                </c:pt>
                <c:pt idx="87">
                  <c:v>1768.0840056424856</c:v>
                </c:pt>
                <c:pt idx="88">
                  <c:v>1762.6204862582392</c:v>
                </c:pt>
                <c:pt idx="89">
                  <c:v>1754.823532372196</c:v>
                </c:pt>
                <c:pt idx="90">
                  <c:v>1744.7323500935113</c:v>
                </c:pt>
                <c:pt idx="91">
                  <c:v>1732.4017006102067</c:v>
                </c:pt>
                <c:pt idx="92">
                  <c:v>1717.8987505964114</c:v>
                </c:pt>
                <c:pt idx="93">
                  <c:v>1701.2975179488428</c:v>
                </c:pt>
                <c:pt idx="94">
                  <c:v>1682.6791354108339</c:v>
                </c:pt>
                <c:pt idx="95">
                  <c:v>1662.1330535980026</c:v>
                </c:pt>
              </c:numCache>
            </c:numRef>
          </c:val>
          <c:smooth val="0"/>
          <c:extLst>
            <c:ext xmlns:c16="http://schemas.microsoft.com/office/drawing/2014/chart" uri="{C3380CC4-5D6E-409C-BE32-E72D297353CC}">
              <c16:uniqueId val="{00000004-3234-417C-A836-04015F5B3963}"/>
            </c:ext>
          </c:extLst>
        </c:ser>
        <c:ser>
          <c:idx val="4"/>
          <c:order val="4"/>
          <c:tx>
            <c:v>maximum</c:v>
          </c:tx>
          <c:spPr>
            <a:ln>
              <a:solidFill>
                <a:schemeClr val="tx1"/>
              </a:solidFill>
              <a:prstDash val="sysDot"/>
            </a:ln>
          </c:spPr>
          <c:marker>
            <c:symbol val="none"/>
          </c:marker>
          <c:cat>
            <c:numRef>
              <c:f>Sheet1!$B$1:$CS$1</c:f>
              <c:numCache>
                <c:formatCode>m/d/yyyy</c:formatCode>
                <c:ptCount val="96"/>
                <c:pt idx="0">
                  <c:v>44470</c:v>
                </c:pt>
                <c:pt idx="1">
                  <c:v>44471</c:v>
                </c:pt>
                <c:pt idx="2">
                  <c:v>44472</c:v>
                </c:pt>
                <c:pt idx="3">
                  <c:v>44473</c:v>
                </c:pt>
                <c:pt idx="4">
                  <c:v>44474</c:v>
                </c:pt>
                <c:pt idx="5">
                  <c:v>44475</c:v>
                </c:pt>
                <c:pt idx="6">
                  <c:v>44476</c:v>
                </c:pt>
                <c:pt idx="7">
                  <c:v>44477</c:v>
                </c:pt>
                <c:pt idx="8">
                  <c:v>44478</c:v>
                </c:pt>
                <c:pt idx="9">
                  <c:v>44479</c:v>
                </c:pt>
                <c:pt idx="10">
                  <c:v>44480</c:v>
                </c:pt>
                <c:pt idx="11">
                  <c:v>44481</c:v>
                </c:pt>
                <c:pt idx="12">
                  <c:v>44482</c:v>
                </c:pt>
                <c:pt idx="13">
                  <c:v>44483</c:v>
                </c:pt>
                <c:pt idx="14">
                  <c:v>44484</c:v>
                </c:pt>
                <c:pt idx="15">
                  <c:v>44485</c:v>
                </c:pt>
                <c:pt idx="16">
                  <c:v>44486</c:v>
                </c:pt>
                <c:pt idx="17">
                  <c:v>44487</c:v>
                </c:pt>
                <c:pt idx="18">
                  <c:v>44488</c:v>
                </c:pt>
                <c:pt idx="19">
                  <c:v>44489</c:v>
                </c:pt>
                <c:pt idx="20">
                  <c:v>44490</c:v>
                </c:pt>
                <c:pt idx="21">
                  <c:v>44491</c:v>
                </c:pt>
                <c:pt idx="22">
                  <c:v>44492</c:v>
                </c:pt>
                <c:pt idx="23">
                  <c:v>44493</c:v>
                </c:pt>
                <c:pt idx="24">
                  <c:v>44494</c:v>
                </c:pt>
                <c:pt idx="25">
                  <c:v>44495</c:v>
                </c:pt>
                <c:pt idx="26">
                  <c:v>44496</c:v>
                </c:pt>
                <c:pt idx="27">
                  <c:v>44497</c:v>
                </c:pt>
                <c:pt idx="28">
                  <c:v>44498</c:v>
                </c:pt>
                <c:pt idx="29">
                  <c:v>44499</c:v>
                </c:pt>
                <c:pt idx="30">
                  <c:v>44500</c:v>
                </c:pt>
                <c:pt idx="31">
                  <c:v>44501</c:v>
                </c:pt>
                <c:pt idx="32">
                  <c:v>44502</c:v>
                </c:pt>
                <c:pt idx="33">
                  <c:v>44503</c:v>
                </c:pt>
                <c:pt idx="34">
                  <c:v>44504</c:v>
                </c:pt>
                <c:pt idx="35">
                  <c:v>44505</c:v>
                </c:pt>
                <c:pt idx="36">
                  <c:v>44506</c:v>
                </c:pt>
                <c:pt idx="37">
                  <c:v>44507</c:v>
                </c:pt>
                <c:pt idx="38">
                  <c:v>44508</c:v>
                </c:pt>
                <c:pt idx="39">
                  <c:v>44509</c:v>
                </c:pt>
                <c:pt idx="40">
                  <c:v>44510</c:v>
                </c:pt>
                <c:pt idx="41">
                  <c:v>44511</c:v>
                </c:pt>
                <c:pt idx="42">
                  <c:v>44512</c:v>
                </c:pt>
                <c:pt idx="43">
                  <c:v>44513</c:v>
                </c:pt>
                <c:pt idx="44">
                  <c:v>44514</c:v>
                </c:pt>
                <c:pt idx="45">
                  <c:v>44515</c:v>
                </c:pt>
                <c:pt idx="46">
                  <c:v>44516</c:v>
                </c:pt>
                <c:pt idx="47">
                  <c:v>44517</c:v>
                </c:pt>
                <c:pt idx="48">
                  <c:v>44518</c:v>
                </c:pt>
                <c:pt idx="49">
                  <c:v>44519</c:v>
                </c:pt>
                <c:pt idx="50">
                  <c:v>44520</c:v>
                </c:pt>
                <c:pt idx="51">
                  <c:v>44521</c:v>
                </c:pt>
                <c:pt idx="52">
                  <c:v>44522</c:v>
                </c:pt>
                <c:pt idx="53">
                  <c:v>44523</c:v>
                </c:pt>
                <c:pt idx="54">
                  <c:v>44524</c:v>
                </c:pt>
                <c:pt idx="55">
                  <c:v>44525</c:v>
                </c:pt>
                <c:pt idx="56">
                  <c:v>44526</c:v>
                </c:pt>
                <c:pt idx="57">
                  <c:v>44527</c:v>
                </c:pt>
                <c:pt idx="58">
                  <c:v>44528</c:v>
                </c:pt>
                <c:pt idx="59">
                  <c:v>44529</c:v>
                </c:pt>
                <c:pt idx="60">
                  <c:v>44530</c:v>
                </c:pt>
                <c:pt idx="61">
                  <c:v>44531</c:v>
                </c:pt>
                <c:pt idx="62">
                  <c:v>44532</c:v>
                </c:pt>
                <c:pt idx="63">
                  <c:v>44533</c:v>
                </c:pt>
                <c:pt idx="64">
                  <c:v>44534</c:v>
                </c:pt>
                <c:pt idx="65">
                  <c:v>44535</c:v>
                </c:pt>
                <c:pt idx="66">
                  <c:v>44536</c:v>
                </c:pt>
                <c:pt idx="67">
                  <c:v>44537</c:v>
                </c:pt>
                <c:pt idx="68">
                  <c:v>44538</c:v>
                </c:pt>
                <c:pt idx="69">
                  <c:v>44539</c:v>
                </c:pt>
                <c:pt idx="70">
                  <c:v>44540</c:v>
                </c:pt>
                <c:pt idx="71">
                  <c:v>44541</c:v>
                </c:pt>
                <c:pt idx="72">
                  <c:v>44542</c:v>
                </c:pt>
                <c:pt idx="73">
                  <c:v>44543</c:v>
                </c:pt>
                <c:pt idx="74">
                  <c:v>44544</c:v>
                </c:pt>
                <c:pt idx="75">
                  <c:v>44545</c:v>
                </c:pt>
                <c:pt idx="76">
                  <c:v>44546</c:v>
                </c:pt>
                <c:pt idx="77">
                  <c:v>44547</c:v>
                </c:pt>
                <c:pt idx="78">
                  <c:v>44548</c:v>
                </c:pt>
                <c:pt idx="79">
                  <c:v>44549</c:v>
                </c:pt>
                <c:pt idx="80">
                  <c:v>44550</c:v>
                </c:pt>
                <c:pt idx="81">
                  <c:v>44551</c:v>
                </c:pt>
                <c:pt idx="82">
                  <c:v>44552</c:v>
                </c:pt>
                <c:pt idx="83">
                  <c:v>44553</c:v>
                </c:pt>
                <c:pt idx="84">
                  <c:v>44554</c:v>
                </c:pt>
                <c:pt idx="85">
                  <c:v>44555</c:v>
                </c:pt>
                <c:pt idx="86">
                  <c:v>44556</c:v>
                </c:pt>
                <c:pt idx="87">
                  <c:v>44557</c:v>
                </c:pt>
                <c:pt idx="88">
                  <c:v>44558</c:v>
                </c:pt>
                <c:pt idx="89">
                  <c:v>44559</c:v>
                </c:pt>
                <c:pt idx="90">
                  <c:v>44560</c:v>
                </c:pt>
                <c:pt idx="91">
                  <c:v>44561</c:v>
                </c:pt>
                <c:pt idx="92">
                  <c:v>44562</c:v>
                </c:pt>
                <c:pt idx="93">
                  <c:v>44563</c:v>
                </c:pt>
                <c:pt idx="94">
                  <c:v>44564</c:v>
                </c:pt>
                <c:pt idx="95">
                  <c:v>44565</c:v>
                </c:pt>
              </c:numCache>
            </c:numRef>
          </c:cat>
          <c:val>
            <c:numRef>
              <c:f>Sheet1!$B$6:$CS$6</c:f>
              <c:numCache>
                <c:formatCode>General</c:formatCode>
                <c:ptCount val="96"/>
              </c:numCache>
            </c:numRef>
          </c:val>
          <c:smooth val="0"/>
          <c:extLst>
            <c:ext xmlns:c16="http://schemas.microsoft.com/office/drawing/2014/chart" uri="{C3380CC4-5D6E-409C-BE32-E72D297353CC}">
              <c16:uniqueId val="{00000005-3234-417C-A836-04015F5B3963}"/>
            </c:ext>
          </c:extLst>
        </c:ser>
        <c:dLbls>
          <c:showLegendKey val="0"/>
          <c:showVal val="0"/>
          <c:showCatName val="0"/>
          <c:showSerName val="0"/>
          <c:showPercent val="0"/>
          <c:showBubbleSize val="0"/>
        </c:dLbls>
        <c:marker val="1"/>
        <c:smooth val="0"/>
        <c:axId val="298003144"/>
        <c:axId val="298003536"/>
      </c:lineChart>
      <c:dateAx>
        <c:axId val="298003144"/>
        <c:scaling>
          <c:orientation val="minMax"/>
        </c:scaling>
        <c:delete val="0"/>
        <c:axPos val="b"/>
        <c:numFmt formatCode="m/d/yyyy" sourceLinked="1"/>
        <c:majorTickMark val="out"/>
        <c:minorTickMark val="none"/>
        <c:tickLblPos val="nextTo"/>
        <c:spPr>
          <a:noFill/>
          <a:ln w="9525" cap="flat" cmpd="sng" algn="ctr">
            <a:solidFill>
              <a:schemeClr val="tx1"/>
            </a:solidFill>
            <a:round/>
          </a:ln>
          <a:effectLst/>
        </c:spPr>
        <c:txPr>
          <a:bodyPr rot="-60000000" vert="horz"/>
          <a:lstStyle/>
          <a:p>
            <a:pPr>
              <a:defRPr sz="1000"/>
            </a:pPr>
            <a:endParaRPr lang="cs-CZ"/>
          </a:p>
        </c:txPr>
        <c:crossAx val="298003536"/>
        <c:crosses val="autoZero"/>
        <c:auto val="1"/>
        <c:lblOffset val="100"/>
        <c:baseTimeUnit val="days"/>
        <c:majorUnit val="1"/>
      </c:dateAx>
      <c:valAx>
        <c:axId val="298003536"/>
        <c:scaling>
          <c:orientation val="minMax"/>
        </c:scaling>
        <c:delete val="0"/>
        <c:axPos val="l"/>
        <c:numFmt formatCode="#,##0" sourceLinked="0"/>
        <c:majorTickMark val="none"/>
        <c:minorTickMark val="none"/>
        <c:tickLblPos val="nextTo"/>
        <c:spPr>
          <a:noFill/>
          <a:ln>
            <a:solidFill>
              <a:schemeClr val="tx1"/>
            </a:solidFill>
          </a:ln>
          <a:effectLst/>
        </c:spPr>
        <c:txPr>
          <a:bodyPr rot="-60000000" vert="horz"/>
          <a:lstStyle/>
          <a:p>
            <a:pPr>
              <a:defRPr sz="1200"/>
            </a:pPr>
            <a:endParaRPr lang="cs-CZ"/>
          </a:p>
        </c:txPr>
        <c:crossAx val="29800314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mn-lt"/>
        </a:defRPr>
      </a:pPr>
      <a:endParaRPr lang="cs-C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0-5B73-42C7-B0A5-249A45A05BDF}"/>
              </c:ext>
            </c:extLst>
          </c:dPt>
          <c:dPt>
            <c:idx val="9"/>
            <c:invertIfNegative val="0"/>
            <c:bubble3D val="0"/>
            <c:spPr>
              <a:solidFill>
                <a:srgbClr val="4472C4"/>
              </a:solidFill>
              <a:ln>
                <a:noFill/>
              </a:ln>
              <a:effectLst/>
            </c:spPr>
            <c:extLst>
              <c:ext xmlns:c16="http://schemas.microsoft.com/office/drawing/2014/chart" uri="{C3380CC4-5D6E-409C-BE32-E72D297353CC}">
                <c16:uniqueId val="{00000005-6E36-41C8-8484-20FFE9915F0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Pardubický kraj</c:v>
                </c:pt>
                <c:pt idx="3">
                  <c:v>Jihomoravský kraj</c:v>
                </c:pt>
                <c:pt idx="4">
                  <c:v>Ústecký kraj</c:v>
                </c:pt>
                <c:pt idx="5">
                  <c:v>Olomoucký kraj</c:v>
                </c:pt>
                <c:pt idx="6">
                  <c:v>Plzeňský kraj</c:v>
                </c:pt>
                <c:pt idx="7">
                  <c:v>Zlínský kraj</c:v>
                </c:pt>
                <c:pt idx="8">
                  <c:v>ČR</c:v>
                </c:pt>
                <c:pt idx="9">
                  <c:v>Liberecký kraj</c:v>
                </c:pt>
                <c:pt idx="10">
                  <c:v>Moravskoslezský kraj</c:v>
                </c:pt>
                <c:pt idx="11">
                  <c:v>Středočeský kraj</c:v>
                </c:pt>
                <c:pt idx="12">
                  <c:v>Královéhradecký kraj</c:v>
                </c:pt>
                <c:pt idx="13">
                  <c:v>Karlovarský kraj</c:v>
                </c:pt>
                <c:pt idx="14">
                  <c:v>Hlavní město Praha</c:v>
                </c:pt>
              </c:strCache>
            </c:strRef>
          </c:cat>
          <c:val>
            <c:numRef>
              <c:f>Sheet1!$B$2:$B$16</c:f>
              <c:numCache>
                <c:formatCode>0.00%</c:formatCode>
                <c:ptCount val="15"/>
                <c:pt idx="0">
                  <c:v>0.36198064883300002</c:v>
                </c:pt>
                <c:pt idx="1">
                  <c:v>0.31578947368400001</c:v>
                </c:pt>
                <c:pt idx="2">
                  <c:v>0.30371203599500002</c:v>
                </c:pt>
                <c:pt idx="3">
                  <c:v>0.287596899224</c:v>
                </c:pt>
                <c:pt idx="4">
                  <c:v>0.28056112224399998</c:v>
                </c:pt>
                <c:pt idx="5">
                  <c:v>0.27762619372399999</c:v>
                </c:pt>
                <c:pt idx="6">
                  <c:v>0.26642555756399999</c:v>
                </c:pt>
                <c:pt idx="7">
                  <c:v>0.253151260504</c:v>
                </c:pt>
                <c:pt idx="8">
                  <c:v>0.23640744797300001</c:v>
                </c:pt>
                <c:pt idx="9">
                  <c:v>0.20913461538399999</c:v>
                </c:pt>
                <c:pt idx="10">
                  <c:v>0.19157223796</c:v>
                </c:pt>
                <c:pt idx="11">
                  <c:v>0.17177242888399999</c:v>
                </c:pt>
                <c:pt idx="12">
                  <c:v>0.14666666666600001</c:v>
                </c:pt>
                <c:pt idx="13">
                  <c:v>0.143540669856</c:v>
                </c:pt>
                <c:pt idx="14">
                  <c:v>0.13857916533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7"/>
            <c:invertIfNegative val="0"/>
            <c:bubble3D val="0"/>
            <c:spPr>
              <a:solidFill>
                <a:srgbClr val="C00000"/>
              </a:solidFill>
              <a:ln>
                <a:noFill/>
              </a:ln>
              <a:effectLst/>
            </c:spPr>
            <c:extLst>
              <c:ext xmlns:c16="http://schemas.microsoft.com/office/drawing/2014/chart" uri="{C3380CC4-5D6E-409C-BE32-E72D297353CC}">
                <c16:uniqueId val="{00000005-152C-45BC-B4F3-06B69B914FD7}"/>
              </c:ext>
            </c:extLst>
          </c:dPt>
          <c:dPt>
            <c:idx val="8"/>
            <c:invertIfNegative val="0"/>
            <c:bubble3D val="0"/>
            <c:spPr>
              <a:solidFill>
                <a:srgbClr val="4472C4"/>
              </a:solidFill>
              <a:ln>
                <a:noFill/>
              </a:ln>
              <a:effectLst/>
            </c:spPr>
            <c:extLst>
              <c:ext xmlns:c16="http://schemas.microsoft.com/office/drawing/2014/chart" uri="{C3380CC4-5D6E-409C-BE32-E72D297353CC}">
                <c16:uniqueId val="{00000007-0F3E-4B43-80F3-84A59608F1F5}"/>
              </c:ext>
            </c:extLst>
          </c:dPt>
          <c:dPt>
            <c:idx val="9"/>
            <c:invertIfNegative val="0"/>
            <c:bubble3D val="0"/>
            <c:spPr>
              <a:solidFill>
                <a:srgbClr val="4472C4"/>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moravský kraj</c:v>
                </c:pt>
                <c:pt idx="2">
                  <c:v>Středočeský kraj</c:v>
                </c:pt>
                <c:pt idx="3">
                  <c:v>Jihočeský kraj</c:v>
                </c:pt>
                <c:pt idx="4">
                  <c:v>Pardubický kraj</c:v>
                </c:pt>
                <c:pt idx="5">
                  <c:v>Plzeňský kraj</c:v>
                </c:pt>
                <c:pt idx="6">
                  <c:v>Zlínský kraj</c:v>
                </c:pt>
                <c:pt idx="7">
                  <c:v>ČR</c:v>
                </c:pt>
                <c:pt idx="8">
                  <c:v>Moravskoslezský kraj</c:v>
                </c:pt>
                <c:pt idx="9">
                  <c:v>Liberecký kraj</c:v>
                </c:pt>
                <c:pt idx="10">
                  <c:v>Olomoucký kraj</c:v>
                </c:pt>
                <c:pt idx="11">
                  <c:v>Královéhradecký kraj</c:v>
                </c:pt>
                <c:pt idx="12">
                  <c:v>Ústecký kraj</c:v>
                </c:pt>
                <c:pt idx="13">
                  <c:v>Karlovarský kraj</c:v>
                </c:pt>
                <c:pt idx="14">
                  <c:v>Hlavní město Praha</c:v>
                </c:pt>
              </c:strCache>
            </c:strRef>
          </c:cat>
          <c:val>
            <c:numRef>
              <c:f>Sheet1!$B$2:$B$16</c:f>
              <c:numCache>
                <c:formatCode>0.00%</c:formatCode>
                <c:ptCount val="15"/>
                <c:pt idx="0">
                  <c:v>0.59595959595900005</c:v>
                </c:pt>
                <c:pt idx="1">
                  <c:v>0.429333333333</c:v>
                </c:pt>
                <c:pt idx="2">
                  <c:v>0.41880341880299998</c:v>
                </c:pt>
                <c:pt idx="3">
                  <c:v>0.41496598639400001</c:v>
                </c:pt>
                <c:pt idx="4">
                  <c:v>0.38167938931200002</c:v>
                </c:pt>
                <c:pt idx="5">
                  <c:v>0.37238493723799998</c:v>
                </c:pt>
                <c:pt idx="6">
                  <c:v>0.32530120481899999</c:v>
                </c:pt>
                <c:pt idx="7">
                  <c:v>0.30191873589099999</c:v>
                </c:pt>
                <c:pt idx="8">
                  <c:v>0.29740518962000001</c:v>
                </c:pt>
                <c:pt idx="9">
                  <c:v>0.265306122448</c:v>
                </c:pt>
                <c:pt idx="10">
                  <c:v>0.26262626262599997</c:v>
                </c:pt>
                <c:pt idx="11">
                  <c:v>0.260869565217</c:v>
                </c:pt>
                <c:pt idx="12">
                  <c:v>0.25193798449600002</c:v>
                </c:pt>
                <c:pt idx="13">
                  <c:v>0.18072289156599999</c:v>
                </c:pt>
                <c:pt idx="14">
                  <c:v>0.16687898089100001</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6"/>
            <c:invertIfNegative val="0"/>
            <c:bubble3D val="0"/>
            <c:spPr>
              <a:solidFill>
                <a:srgbClr val="4472C4"/>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5-C7C9-4D64-AE65-88656EB3CEB4}"/>
              </c:ext>
            </c:extLst>
          </c:dPt>
          <c:dPt>
            <c:idx val="9"/>
            <c:invertIfNegative val="0"/>
            <c:bubble3D val="0"/>
            <c:spPr>
              <a:solidFill>
                <a:srgbClr val="4472C4"/>
              </a:solidFill>
              <a:ln>
                <a:noFill/>
              </a:ln>
              <a:effectLst/>
            </c:spPr>
            <c:extLst>
              <c:ext xmlns:c16="http://schemas.microsoft.com/office/drawing/2014/chart" uri="{C3380CC4-5D6E-409C-BE32-E72D297353CC}">
                <c16:uniqueId val="{00000000-187C-4B26-A62C-8D83AD58094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Zlínský kraj</c:v>
                </c:pt>
                <c:pt idx="3">
                  <c:v>Jihomoravský kraj</c:v>
                </c:pt>
                <c:pt idx="4">
                  <c:v>Pardubický kraj</c:v>
                </c:pt>
                <c:pt idx="5">
                  <c:v>Plzeňský kraj</c:v>
                </c:pt>
                <c:pt idx="6">
                  <c:v>Středočeský kraj</c:v>
                </c:pt>
                <c:pt idx="7">
                  <c:v>Olomoucký kraj</c:v>
                </c:pt>
                <c:pt idx="8">
                  <c:v>ČR</c:v>
                </c:pt>
                <c:pt idx="9">
                  <c:v>Moravskoslezský kraj</c:v>
                </c:pt>
                <c:pt idx="10">
                  <c:v>Ústecký kraj</c:v>
                </c:pt>
                <c:pt idx="11">
                  <c:v>Liberecký kraj</c:v>
                </c:pt>
                <c:pt idx="12">
                  <c:v>Královéhradecký kraj</c:v>
                </c:pt>
                <c:pt idx="13">
                  <c:v>Karlovarský kraj</c:v>
                </c:pt>
                <c:pt idx="14">
                  <c:v>Hlavní město Praha</c:v>
                </c:pt>
              </c:strCache>
            </c:strRef>
          </c:cat>
          <c:val>
            <c:numRef>
              <c:f>Sheet1!$B$2:$B$16</c:f>
              <c:numCache>
                <c:formatCode>0.00%</c:formatCode>
                <c:ptCount val="15"/>
                <c:pt idx="0">
                  <c:v>0.516129032258</c:v>
                </c:pt>
                <c:pt idx="1">
                  <c:v>0.359375</c:v>
                </c:pt>
                <c:pt idx="2">
                  <c:v>0.31395348837199999</c:v>
                </c:pt>
                <c:pt idx="3">
                  <c:v>0.31219512195100002</c:v>
                </c:pt>
                <c:pt idx="4">
                  <c:v>0.24193548387</c:v>
                </c:pt>
                <c:pt idx="5">
                  <c:v>0.23571428571399999</c:v>
                </c:pt>
                <c:pt idx="6">
                  <c:v>0.226086956521</c:v>
                </c:pt>
                <c:pt idx="7">
                  <c:v>0.22602739726000001</c:v>
                </c:pt>
                <c:pt idx="8">
                  <c:v>0.20917612234800001</c:v>
                </c:pt>
                <c:pt idx="9">
                  <c:v>0.19093851132600001</c:v>
                </c:pt>
                <c:pt idx="10">
                  <c:v>0.184873949579</c:v>
                </c:pt>
                <c:pt idx="11">
                  <c:v>0.17948717948699999</c:v>
                </c:pt>
                <c:pt idx="12">
                  <c:v>0.17599999999999999</c:v>
                </c:pt>
                <c:pt idx="13">
                  <c:v>0.16279069767400001</c:v>
                </c:pt>
                <c:pt idx="14">
                  <c:v>9.9365750527999994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20.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20.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5</a:t>
            </a:fld>
            <a:endParaRPr lang="cs-CZ"/>
          </a:p>
        </p:txBody>
      </p:sp>
    </p:spTree>
    <p:extLst>
      <p:ext uri="{BB962C8B-B14F-4D97-AF65-F5344CB8AC3E}">
        <p14:creationId xmlns:p14="http://schemas.microsoft.com/office/powerpoint/2010/main" val="235681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5719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672"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chart" Target="../charts/chart5.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chart" Target="../charts/char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7.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chart" Target="../charts/chart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chart" Target="../charts/chart4.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21</a:t>
            </a:r>
            <a:r>
              <a:rPr lang="cs-CZ" b="1" dirty="0" smtClean="0"/>
              <a:t>. </a:t>
            </a:r>
            <a:r>
              <a:rPr lang="cs-CZ" b="1" dirty="0" smtClean="0"/>
              <a:t>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06:56</a:t>
            </a:r>
            <a:endParaRPr lang="cs-CZ" dirty="0">
              <a:solidFill>
                <a:srgbClr val="FF0000"/>
              </a:solidFill>
            </a:endParaRPr>
          </a:p>
        </p:txBody>
      </p:sp>
    </p:spTree>
    <p:extLst>
      <p:ext uri="{BB962C8B-B14F-4D97-AF65-F5344CB8AC3E}">
        <p14:creationId xmlns:p14="http://schemas.microsoft.com/office/powerpoint/2010/main" val="385713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p:txBody>
          <a:bodyPr>
            <a:normAutofit/>
          </a:bodyPr>
          <a:lstStyle/>
          <a:p>
            <a:r>
              <a:rPr lang="cs-CZ" sz="2200" dirty="0"/>
              <a:t>VÝVOJ POČTU HOSPITALIZACÍ – CELKOVÉ A JIP – OD BŘEZNA 2020</a:t>
            </a:r>
            <a:r>
              <a:rPr lang="cs-CZ" dirty="0"/>
              <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ISIN / COVID-19 - Informační systém infekční nemoci</a:t>
            </a: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STAV K </a:t>
            </a:r>
            <a:r>
              <a:rPr lang="cs-CZ" sz="2000" b="0" cap="all" spc="100" dirty="0">
                <a:solidFill>
                  <a:prstClr val="black">
                    <a:lumMod val="95000"/>
                    <a:lumOff val="5000"/>
                  </a:prstClr>
                </a:solidFill>
                <a:latin typeface="Tw Cen MT Condensed" panose="020B0606020104020203"/>
                <a:cs typeface="+mj-cs"/>
              </a:rPr>
              <a:t>15.11.2021</a:t>
            </a:r>
          </a:p>
        </p:txBody>
      </p:sp>
      <p:sp>
        <p:nvSpPr>
          <p:cNvPr id="5" name="Ovál 4">
            <a:extLst>
              <a:ext uri="{FF2B5EF4-FFF2-40B4-BE49-F238E27FC236}">
                <a16:creationId xmlns:a16="http://schemas.microsoft.com/office/drawing/2014/main" id="{1BB4283E-4C42-4B27-B7A4-2F7C47B9C82C}"/>
              </a:ext>
            </a:extLst>
          </p:cNvPr>
          <p:cNvSpPr/>
          <p:nvPr/>
        </p:nvSpPr>
        <p:spPr>
          <a:xfrm>
            <a:off x="10834085" y="835853"/>
            <a:ext cx="1248979" cy="1248979"/>
          </a:xfrm>
          <a:prstGeom prst="ellipse">
            <a:avLst/>
          </a:prstGeom>
          <a:solidFill>
            <a:srgbClr val="002060"/>
          </a:solidFill>
        </p:spPr>
        <p:style>
          <a:lnRef idx="0">
            <a:schemeClr val="lt1">
              <a:alpha val="0"/>
              <a:hueOff val="0"/>
              <a:satOff val="0"/>
              <a:lumOff val="0"/>
              <a:alphaOff val="0"/>
            </a:schemeClr>
          </a:lnRef>
          <a:fillRef idx="1">
            <a:scrgbClr r="0" g="0" b="0"/>
          </a:fillRef>
          <a:effectRef idx="0">
            <a:schemeClr val="accent2">
              <a:hueOff val="0"/>
              <a:satOff val="0"/>
              <a:lumOff val="0"/>
              <a:alphaOff val="0"/>
            </a:schemeClr>
          </a:effectRef>
          <a:fontRef idx="minor"/>
        </p:style>
      </p:sp>
      <p:sp>
        <p:nvSpPr>
          <p:cNvPr id="6" name="Obdélník 5" descr="Presentation with bar chart">
            <a:extLst>
              <a:ext uri="{FF2B5EF4-FFF2-40B4-BE49-F238E27FC236}">
                <a16:creationId xmlns:a16="http://schemas.microsoft.com/office/drawing/2014/main" id="{46976FA6-08BA-4324-B654-A82C71BD45E9}"/>
              </a:ext>
            </a:extLst>
          </p:cNvPr>
          <p:cNvSpPr/>
          <p:nvPr/>
        </p:nvSpPr>
        <p:spPr>
          <a:xfrm>
            <a:off x="11100261" y="1102029"/>
            <a:ext cx="716627" cy="716627"/>
          </a:xfrm>
          <a:prstGeom prst="rect">
            <a:avLst/>
          </a:prstGeom>
          <a: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3308982822"/>
              </p:ext>
            </p:extLst>
          </p:nvPr>
        </p:nvGraphicFramePr>
        <p:xfrm>
          <a:off x="8663618" y="3854595"/>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a:solidFill>
                            <a:schemeClr val="tx1"/>
                          </a:solidFill>
                          <a:latin typeface="Calibri" panose="020F0502020204030204" pitchFamily="34" charset="0"/>
                          <a:cs typeface="Calibri" panose="020F0502020204030204" pitchFamily="34" charset="0"/>
                        </a:rPr>
                        <a:t>19.10.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solidFill>
                            <a:prstClr val="black">
                              <a:lumMod val="95000"/>
                              <a:lumOff val="5000"/>
                            </a:prstClr>
                          </a:solidFill>
                          <a:latin typeface="Calibri" panose="020F0502020204030204" pitchFamily="34" charset="0"/>
                          <a:cs typeface="Calibri" panose="020F0502020204030204" pitchFamily="34" charset="0"/>
                        </a:rPr>
                        <a:t>15</a:t>
                      </a:r>
                      <a:r>
                        <a:rPr kumimoji="0" lang="cs-CZ" sz="1300" b="1" i="0" u="none" strike="noStrike" kern="1200" cap="all" spc="10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415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429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6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6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pic>
        <p:nvPicPr>
          <p:cNvPr id="11" name="Zástupný obsah 10">
            <a:extLst>
              <a:ext uri="{FF2B5EF4-FFF2-40B4-BE49-F238E27FC236}">
                <a16:creationId xmlns:a16="http://schemas.microsoft.com/office/drawing/2014/main" id="{F5527483-896C-448A-9F0D-DD707A3C48E1}"/>
              </a:ext>
            </a:extLst>
          </p:cNvPr>
          <p:cNvPicPr>
            <a:picLocks noGrp="1" noChangeAspect="1"/>
          </p:cNvPicPr>
          <p:nvPr>
            <p:ph idx="1"/>
          </p:nvPr>
        </p:nvPicPr>
        <p:blipFill>
          <a:blip r:embed="rId4"/>
          <a:stretch>
            <a:fillRect/>
          </a:stretch>
        </p:blipFill>
        <p:spPr>
          <a:xfrm>
            <a:off x="233917" y="1102029"/>
            <a:ext cx="8037194" cy="5210848"/>
          </a:xfrm>
          <a:prstGeom prst="rect">
            <a:avLst/>
          </a:prstGeom>
        </p:spPr>
      </p:pic>
      <p:sp>
        <p:nvSpPr>
          <p:cNvPr id="3" name="Obdélník 2"/>
          <p:cNvSpPr/>
          <p:nvPr/>
        </p:nvSpPr>
        <p:spPr>
          <a:xfrm>
            <a:off x="8663618" y="2351008"/>
            <a:ext cx="3311769" cy="1200329"/>
          </a:xfrm>
          <a:prstGeom prst="rect">
            <a:avLst/>
          </a:prstGeom>
        </p:spPr>
        <p:txBody>
          <a:bodyPr wrap="square">
            <a:spAutoFit/>
          </a:bodyPr>
          <a:lstStyle/>
          <a:p>
            <a:pPr algn="ctr"/>
            <a:r>
              <a:rPr lang="cs-CZ" dirty="0"/>
              <a:t>Data k </a:t>
            </a:r>
            <a:r>
              <a:rPr lang="cs-CZ" b="1" dirty="0" smtClean="0"/>
              <a:t>15.11</a:t>
            </a:r>
            <a:r>
              <a:rPr lang="cs-CZ" b="1" dirty="0"/>
              <a:t>. 2021</a:t>
            </a:r>
          </a:p>
          <a:p>
            <a:pPr algn="ctr"/>
            <a:r>
              <a:rPr lang="cs-CZ" dirty="0"/>
              <a:t>odpovídají ve srovnání s loňským podzimem datům z </a:t>
            </a:r>
            <a:r>
              <a:rPr lang="cs-CZ" b="1" dirty="0" smtClean="0"/>
              <a:t>19.10</a:t>
            </a:r>
            <a:r>
              <a:rPr lang="cs-CZ" b="1" dirty="0"/>
              <a:t>. 2020</a:t>
            </a:r>
          </a:p>
        </p:txBody>
      </p:sp>
    </p:spTree>
    <p:extLst>
      <p:ext uri="{BB962C8B-B14F-4D97-AF65-F5344CB8AC3E}">
        <p14:creationId xmlns:p14="http://schemas.microsoft.com/office/powerpoint/2010/main" val="3442232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sz="2800" dirty="0" smtClean="0"/>
              <a:t>Trend zátěže nemocnic </a:t>
            </a:r>
            <a:endParaRPr lang="cs-CZ" sz="2800" dirty="0"/>
          </a:p>
        </p:txBody>
      </p:sp>
      <p:sp>
        <p:nvSpPr>
          <p:cNvPr id="5" name="TextovéPole 4"/>
          <p:cNvSpPr txBox="1"/>
          <p:nvPr/>
        </p:nvSpPr>
        <p:spPr>
          <a:xfrm>
            <a:off x="729760" y="1433145"/>
            <a:ext cx="9715500" cy="2031325"/>
          </a:xfrm>
          <a:prstGeom prst="rect">
            <a:avLst/>
          </a:prstGeom>
          <a:noFill/>
        </p:spPr>
        <p:txBody>
          <a:bodyPr wrap="square" rtlCol="0">
            <a:spAutoFit/>
          </a:bodyPr>
          <a:lstStyle/>
          <a:p>
            <a:r>
              <a:rPr lang="cs-CZ" b="1" dirty="0"/>
              <a:t>Současný vývoj epidemie je skutečně velmi rizikový </a:t>
            </a:r>
            <a:r>
              <a:rPr lang="cs-CZ" dirty="0"/>
              <a:t>-&gt; </a:t>
            </a:r>
            <a:r>
              <a:rPr lang="cs-CZ" dirty="0" smtClean="0"/>
              <a:t>vysoké nárůsty denní i průměrné incidence, nárůst relativní pozitivity testů a další ukazatele.</a:t>
            </a:r>
          </a:p>
          <a:p>
            <a:r>
              <a:rPr lang="cs-CZ" dirty="0" smtClean="0"/>
              <a:t>Tento trend má stále rostoucí charakter a v nejbližších dnech bude pokračovat.</a:t>
            </a:r>
          </a:p>
          <a:p>
            <a:r>
              <a:rPr lang="cs-CZ" dirty="0" smtClean="0"/>
              <a:t>Všechny tyto skutečnosti budou mít samozřejmě dopad na zvýšený příjem pacientů do nemocnic. </a:t>
            </a:r>
            <a:endParaRPr lang="cs-CZ" dirty="0"/>
          </a:p>
          <a:p>
            <a:endParaRPr lang="cs-CZ" dirty="0" smtClean="0"/>
          </a:p>
          <a:p>
            <a:r>
              <a:rPr lang="cs-CZ" dirty="0" smtClean="0"/>
              <a:t> </a:t>
            </a:r>
            <a:endParaRPr lang="cs-CZ"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Skupina 5"/>
          <p:cNvGrpSpPr/>
          <p:nvPr/>
        </p:nvGrpSpPr>
        <p:grpSpPr>
          <a:xfrm>
            <a:off x="2373746" y="1043714"/>
            <a:ext cx="6982692" cy="5158377"/>
            <a:chOff x="212984" y="997527"/>
            <a:chExt cx="5619923" cy="5158377"/>
          </a:xfrm>
        </p:grpSpPr>
        <p:pic>
          <p:nvPicPr>
            <p:cNvPr id="4" name="Obrázek 3">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r="71184"/>
            <a:stretch/>
          </p:blipFill>
          <p:spPr>
            <a:xfrm>
              <a:off x="212984" y="997527"/>
              <a:ext cx="3370725" cy="5158377"/>
            </a:xfrm>
            <a:prstGeom prst="rect">
              <a:avLst/>
            </a:prstGeom>
          </p:spPr>
        </p:pic>
        <p:pic>
          <p:nvPicPr>
            <p:cNvPr id="5" name="Obrázek 4">
              <a:extLst>
                <a:ext uri="{FF2B5EF4-FFF2-40B4-BE49-F238E27FC236}">
                  <a16:creationId xmlns:a16="http://schemas.microsoft.com/office/drawing/2014/main" id="{5F3CC0D9-D7A2-4943-9B47-5A2FB7BE8376}"/>
                </a:ext>
              </a:extLst>
            </p:cNvPr>
            <p:cNvPicPr>
              <a:picLocks noChangeAspect="1"/>
            </p:cNvPicPr>
            <p:nvPr/>
          </p:nvPicPr>
          <p:blipFill rotWithShape="1">
            <a:blip r:embed="rId2"/>
            <a:srcRect l="80772"/>
            <a:stretch/>
          </p:blipFill>
          <p:spPr>
            <a:xfrm>
              <a:off x="3583709" y="997527"/>
              <a:ext cx="2249198" cy="5158377"/>
            </a:xfrm>
            <a:prstGeom prst="rect">
              <a:avLst/>
            </a:prstGeom>
          </p:spPr>
        </p:pic>
      </p:grpSp>
      <p:sp>
        <p:nvSpPr>
          <p:cNvPr id="7" name="Obdélník 6"/>
          <p:cNvSpPr/>
          <p:nvPr/>
        </p:nvSpPr>
        <p:spPr>
          <a:xfrm>
            <a:off x="1806624" y="251752"/>
            <a:ext cx="7433446" cy="523220"/>
          </a:xfrm>
          <a:prstGeom prst="rect">
            <a:avLst/>
          </a:prstGeom>
        </p:spPr>
        <p:txBody>
          <a:bodyPr wrap="none">
            <a:spAutoFit/>
          </a:bodyPr>
          <a:lstStyle/>
          <a:p>
            <a:pPr lvl="0" algn="ctr">
              <a:defRPr/>
            </a:pPr>
            <a:r>
              <a:rPr lang="cs-CZ" sz="2800" b="1" kern="0" dirty="0">
                <a:solidFill>
                  <a:prstClr val="black"/>
                </a:solidFill>
                <a:latin typeface="Calibri" panose="020F0502020204030204"/>
              </a:rPr>
              <a:t>Každodenní aktualizace „Risk </a:t>
            </a:r>
            <a:r>
              <a:rPr lang="cs-CZ" sz="2800" b="1" kern="0" dirty="0" err="1">
                <a:solidFill>
                  <a:prstClr val="black"/>
                </a:solidFill>
                <a:latin typeface="Calibri" panose="020F0502020204030204"/>
              </a:rPr>
              <a:t>mapping</a:t>
            </a:r>
            <a:r>
              <a:rPr lang="cs-CZ" sz="2800" b="1" kern="0" dirty="0">
                <a:solidFill>
                  <a:prstClr val="black"/>
                </a:solidFill>
                <a:latin typeface="Calibri" panose="020F0502020204030204"/>
              </a:rPr>
              <a:t>“ pro KKIP</a:t>
            </a:r>
            <a:endParaRPr lang="cs-CZ" sz="2800" i="1" kern="0" dirty="0">
              <a:solidFill>
                <a:prstClr val="black"/>
              </a:solidFill>
              <a:latin typeface="Calibri" panose="020F0502020204030204"/>
            </a:endParaRPr>
          </a:p>
        </p:txBody>
      </p:sp>
    </p:spTree>
    <p:extLst>
      <p:ext uri="{BB962C8B-B14F-4D97-AF65-F5344CB8AC3E}">
        <p14:creationId xmlns:p14="http://schemas.microsoft.com/office/powerpoint/2010/main" val="2320819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sz="1800" dirty="0" smtClean="0"/>
              <a:t>Hodnocení situace v krajích</a:t>
            </a:r>
            <a:endParaRPr lang="cs-CZ" sz="1800" dirty="0">
              <a:solidFill>
                <a:srgbClr val="00FF00"/>
              </a:solidFill>
            </a:endParaRPr>
          </a:p>
        </p:txBody>
      </p:sp>
      <p:graphicFrame>
        <p:nvGraphicFramePr>
          <p:cNvPr id="5" name="Tabulka 4"/>
          <p:cNvGraphicFramePr>
            <a:graphicFrameLocks noGrp="1"/>
          </p:cNvGraphicFramePr>
          <p:nvPr>
            <p:extLst>
              <p:ext uri="{D42A27DB-BD31-4B8C-83A1-F6EECF244321}">
                <p14:modId xmlns:p14="http://schemas.microsoft.com/office/powerpoint/2010/main" val="2421061237"/>
              </p:ext>
            </p:extLst>
          </p:nvPr>
        </p:nvGraphicFramePr>
        <p:xfrm>
          <a:off x="415530" y="1482725"/>
          <a:ext cx="11076016" cy="5279183"/>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KRAJ</a:t>
                      </a:r>
                    </a:p>
                    <a:p>
                      <a:pPr algn="ctr">
                        <a:spcAft>
                          <a:spcPts val="0"/>
                        </a:spcAft>
                      </a:pPr>
                      <a:r>
                        <a:rPr lang="cs-CZ" sz="1100" b="1" dirty="0" smtClean="0">
                          <a:effectLst/>
                          <a:latin typeface="Calibri" panose="020F0502020204030204" pitchFamily="34" charset="0"/>
                          <a:ea typeface="Calibri" panose="020F0502020204030204" pitchFamily="34" charset="0"/>
                          <a:cs typeface="Calibri" panose="020F0502020204030204" pitchFamily="34" charset="0"/>
                        </a:rPr>
                        <a:t>Poslední</a:t>
                      </a:r>
                      <a:r>
                        <a:rPr lang="cs-CZ" sz="1100" b="1" baseline="0" dirty="0" smtClean="0">
                          <a:effectLst/>
                          <a:latin typeface="Calibri" panose="020F0502020204030204" pitchFamily="34" charset="0"/>
                          <a:ea typeface="Calibri" panose="020F0502020204030204" pitchFamily="34" charset="0"/>
                          <a:cs typeface="Calibri" panose="020F0502020204030204" pitchFamily="34" charset="0"/>
                        </a:rPr>
                        <a:t> aktualiz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a:effectLst/>
                          <a:latin typeface="Calibri" panose="020F0502020204030204" pitchFamily="34" charset="0"/>
                          <a:ea typeface="Calibri" panose="020F0502020204030204" pitchFamily="34" charset="0"/>
                          <a:cs typeface="Calibri" panose="020F0502020204030204" pitchFamily="34" charset="0"/>
                        </a:rPr>
                        <a:t>Hl. m. </a:t>
                      </a:r>
                      <a:r>
                        <a:rPr lang="cs-CZ" sz="1200" b="1" dirty="0" smtClean="0">
                          <a:effectLst/>
                          <a:latin typeface="Calibri" panose="020F0502020204030204" pitchFamily="34" charset="0"/>
                          <a:ea typeface="Calibri" panose="020F0502020204030204" pitchFamily="34" charset="0"/>
                          <a:cs typeface="Calibri" panose="020F0502020204030204" pitchFamily="34" charset="0"/>
                        </a:rPr>
                        <a:t>Prah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8.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a:t>
                      </a:r>
                      <a:r>
                        <a:rPr lang="cs-CZ" sz="1200" dirty="0" smtClean="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r>
                        <a:rPr lang="cs-CZ" sz="1200" b="0" i="0" kern="1200" dirty="0" smtClean="0">
                          <a:solidFill>
                            <a:schemeClr val="tx1"/>
                          </a:solidFill>
                          <a:effectLst/>
                          <a:latin typeface="+mn-lt"/>
                          <a:ea typeface="+mn-ea"/>
                          <a:cs typeface="+mn-cs"/>
                        </a:rPr>
                        <a:t>Plošný stesk na nedostatek personálu.</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91514">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Pardubi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6.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Královéhrad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Calibri" panose="020F0502020204030204" pitchFamily="34" charset="0"/>
                        </a:rPr>
                        <a:t>15.11.21</a:t>
                      </a:r>
                      <a:endParaRPr lang="cs-CZ"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effectLst/>
                          <a:latin typeface="Calibri" panose="020F0502020204030204" pitchFamily="34" charset="0"/>
                          <a:ea typeface="Calibri" panose="020F0502020204030204" pitchFamily="34" charset="0"/>
                          <a:cs typeface="Times New Roman" panose="02020603050405020304" pitchFamily="18" charset="0"/>
                        </a:rPr>
                        <a:t>C</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a:t>
                      </a:r>
                      <a:r>
                        <a:rPr lang="cs-CZ" sz="1200" dirty="0" smtClean="0">
                          <a:effectLst/>
                          <a:latin typeface="Calibri" panose="020F0502020204030204" pitchFamily="34" charset="0"/>
                          <a:ea typeface="Calibri" panose="020F0502020204030204" pitchFamily="34" charset="0"/>
                          <a:cs typeface="Calibri" panose="020F0502020204030204" pitchFamily="34" charset="0"/>
                        </a:rPr>
                        <a:t> D</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Moravskoslezský</a:t>
                      </a:r>
                    </a:p>
                    <a:p>
                      <a:pPr>
                        <a:spcBef>
                          <a:spcPts val="600"/>
                        </a:spcBef>
                        <a:spcAft>
                          <a:spcPts val="0"/>
                        </a:spcAft>
                      </a:pPr>
                      <a:r>
                        <a:rPr lang="cs-CZ" sz="1200" b="1" i="0" kern="1200" dirty="0" smtClean="0">
                          <a:solidFill>
                            <a:schemeClr val="tx1"/>
                          </a:solidFill>
                          <a:effectLst/>
                          <a:latin typeface="Calibri" panose="020F0502020204030204" pitchFamily="34" charset="0"/>
                          <a:ea typeface="+mn-ea"/>
                          <a:cs typeface="Calibri" panose="020F0502020204030204" pitchFamily="34" charset="0"/>
                        </a:rPr>
                        <a:t>18.11.21</a:t>
                      </a:r>
                      <a:endParaRPr lang="cs-CZ" sz="1200" b="1"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Lok.hodnocení</a:t>
                      </a:r>
                      <a:r>
                        <a:rPr lang="cs-CZ" sz="1200" b="0" i="0" kern="1200" dirty="0" smtClean="0">
                          <a:solidFill>
                            <a:schemeClr val="tx1"/>
                          </a:solidFill>
                          <a:effectLst/>
                          <a:latin typeface="+mn-lt"/>
                          <a:ea typeface="+mn-ea"/>
                          <a:cs typeface="+mn-cs"/>
                        </a:rPr>
                        <a:t> odpovídá mezi C-D Další </a:t>
                      </a:r>
                      <a:r>
                        <a:rPr lang="cs-CZ" sz="1200" b="0" i="0" kern="1200" dirty="0" err="1" smtClean="0">
                          <a:solidFill>
                            <a:schemeClr val="tx1"/>
                          </a:solidFill>
                          <a:effectLst/>
                          <a:latin typeface="+mn-lt"/>
                          <a:ea typeface="+mn-ea"/>
                          <a:cs typeface="+mn-cs"/>
                        </a:rPr>
                        <a:t>prognozy</a:t>
                      </a:r>
                      <a:r>
                        <a:rPr lang="cs-CZ" sz="1200" b="0" i="0" kern="1200" dirty="0" smtClean="0">
                          <a:solidFill>
                            <a:schemeClr val="tx1"/>
                          </a:solidFill>
                          <a:effectLst/>
                          <a:latin typeface="+mn-lt"/>
                          <a:ea typeface="+mn-ea"/>
                          <a:cs typeface="+mn-cs"/>
                        </a:rPr>
                        <a:t> neradost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3" name="TextovéPole 2"/>
          <p:cNvSpPr txBox="1"/>
          <p:nvPr/>
        </p:nvSpPr>
        <p:spPr>
          <a:xfrm>
            <a:off x="415530" y="845272"/>
            <a:ext cx="9661343" cy="338554"/>
          </a:xfrm>
          <a:prstGeom prst="rect">
            <a:avLst/>
          </a:prstGeom>
          <a:noFill/>
        </p:spPr>
        <p:txBody>
          <a:bodyPr wrap="square" rtlCol="0">
            <a:spAutoFit/>
          </a:bodyPr>
          <a:lstStyle/>
          <a:p>
            <a:r>
              <a:rPr lang="cs-CZ" sz="1600" dirty="0" smtClean="0"/>
              <a:t>Hodnocení situace zasílejte každý čtvrtek do 11:00. V případě hodnocení D a E</a:t>
            </a:r>
            <a:r>
              <a:rPr lang="cs-CZ" sz="1600" dirty="0"/>
              <a:t> </a:t>
            </a:r>
            <a:r>
              <a:rPr lang="cs-CZ" sz="1600" dirty="0" smtClean="0"/>
              <a:t>zasílejte denně do 11:00.</a:t>
            </a:r>
            <a:endParaRPr lang="cs-CZ" sz="1600" dirty="0"/>
          </a:p>
        </p:txBody>
      </p:sp>
      <p:sp>
        <p:nvSpPr>
          <p:cNvPr id="6" name="TextovéPole 5"/>
          <p:cNvSpPr txBox="1"/>
          <p:nvPr/>
        </p:nvSpPr>
        <p:spPr>
          <a:xfrm>
            <a:off x="10076873" y="225630"/>
            <a:ext cx="3297382" cy="369332"/>
          </a:xfrm>
          <a:prstGeom prst="rect">
            <a:avLst/>
          </a:prstGeom>
          <a:noFill/>
        </p:spPr>
        <p:txBody>
          <a:bodyPr wrap="square" rtlCol="0">
            <a:spAutoFit/>
          </a:bodyPr>
          <a:lstStyle/>
          <a:p>
            <a:r>
              <a:rPr lang="cs-CZ" dirty="0" smtClean="0">
                <a:solidFill>
                  <a:schemeClr val="bg1"/>
                </a:solidFill>
              </a:rPr>
              <a:t>Zdroj: KKIP</a:t>
            </a:r>
            <a:endParaRPr lang="cs-CZ" dirty="0">
              <a:solidFill>
                <a:schemeClr val="bg1"/>
              </a:solidFill>
            </a:endParaRPr>
          </a:p>
        </p:txBody>
      </p:sp>
    </p:spTree>
    <p:extLst>
      <p:ext uri="{BB962C8B-B14F-4D97-AF65-F5344CB8AC3E}">
        <p14:creationId xmlns:p14="http://schemas.microsoft.com/office/powerpoint/2010/main" val="2541833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Hodnocení situace v krajích </a:t>
            </a:r>
            <a:endParaRPr lang="cs-CZ" dirty="0"/>
          </a:p>
        </p:txBody>
      </p:sp>
      <p:graphicFrame>
        <p:nvGraphicFramePr>
          <p:cNvPr id="5" name="Tabulka 4"/>
          <p:cNvGraphicFramePr>
            <a:graphicFrameLocks noGrp="1"/>
          </p:cNvGraphicFramePr>
          <p:nvPr>
            <p:extLst>
              <p:ext uri="{D42A27DB-BD31-4B8C-83A1-F6EECF244321}">
                <p14:modId xmlns:p14="http://schemas.microsoft.com/office/powerpoint/2010/main" val="2334061973"/>
              </p:ext>
            </p:extLst>
          </p:nvPr>
        </p:nvGraphicFramePr>
        <p:xfrm>
          <a:off x="381740" y="679162"/>
          <a:ext cx="11076016" cy="608001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LOKÁLNÍ </a:t>
                      </a:r>
                      <a:r>
                        <a:rPr lang="cs-CZ" sz="1100" b="1" dirty="0" smtClean="0">
                          <a:effectLst/>
                          <a:latin typeface="Calibri" panose="020F0502020204030204" pitchFamily="34" charset="0"/>
                          <a:ea typeface="Calibri" panose="020F0502020204030204" pitchFamily="34" charset="0"/>
                          <a:cs typeface="Calibri" panose="020F0502020204030204" pitchFamily="34" charset="0"/>
                        </a:rPr>
                        <a:t>HODNOCENÍ </a:t>
                      </a:r>
                      <a:r>
                        <a:rPr lang="cs-CZ" sz="1100" b="1" dirty="0">
                          <a:effectLst/>
                          <a:latin typeface="Calibri" panose="020F0502020204030204" pitchFamily="34" charset="0"/>
                          <a:ea typeface="Calibri" panose="020F0502020204030204" pitchFamily="34" charset="0"/>
                          <a:cs typeface="Calibri" panose="020F0502020204030204" pitchFamily="34" charset="0"/>
                        </a:rPr>
                        <a:t>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Liber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A - bez omezení</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ěhem týdne dojde k výraznému omezení kapacity pro </a:t>
                      </a:r>
                      <a:r>
                        <a:rPr lang="cs-CZ" sz="1200" b="0" i="0" kern="1200" dirty="0" err="1" smtClean="0">
                          <a:solidFill>
                            <a:schemeClr val="tx1"/>
                          </a:solidFill>
                          <a:effectLst/>
                          <a:latin typeface="+mn-lt"/>
                          <a:ea typeface="+mn-ea"/>
                          <a:cs typeface="+mn-cs"/>
                        </a:rPr>
                        <a:t>noncovid</a:t>
                      </a:r>
                      <a:r>
                        <a:rPr lang="cs-CZ" sz="1200" b="0" i="0" kern="1200" dirty="0" smtClean="0">
                          <a:solidFill>
                            <a:schemeClr val="tx1"/>
                          </a:solidFill>
                          <a:effectLst/>
                          <a:latin typeface="+mn-lt"/>
                          <a:ea typeface="+mn-ea"/>
                          <a:cs typeface="+mn-cs"/>
                        </a:rPr>
                        <a:t>. Pacienty v </a:t>
                      </a:r>
                      <a:r>
                        <a:rPr lang="cs-CZ" sz="1200" b="0" i="0" kern="1200" dirty="0" err="1" smtClean="0">
                          <a:solidFill>
                            <a:schemeClr val="tx1"/>
                          </a:solidFill>
                          <a:effectLst/>
                          <a:latin typeface="+mn-lt"/>
                          <a:ea typeface="+mn-ea"/>
                          <a:cs typeface="+mn-cs"/>
                        </a:rPr>
                        <a:t>int.péči</a:t>
                      </a:r>
                      <a:r>
                        <a:rPr lang="cs-CZ" sz="1200" b="0" i="0" kern="1200" dirty="0" smtClean="0">
                          <a:solidFill>
                            <a:schemeClr val="tx1"/>
                          </a:solidFill>
                          <a:effectLst/>
                          <a:latin typeface="+mn-lt"/>
                          <a:ea typeface="+mn-ea"/>
                          <a:cs typeface="+mn-cs"/>
                        </a:rPr>
                        <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Olomouc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cca na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err="1" smtClean="0">
                          <a:solidFill>
                            <a:schemeClr val="tx1"/>
                          </a:solidFill>
                          <a:effectLst/>
                          <a:latin typeface="+mn-lt"/>
                          <a:ea typeface="+mn-ea"/>
                          <a:cs typeface="+mn-cs"/>
                        </a:rPr>
                        <a:t>Elektiva</a:t>
                      </a:r>
                      <a:r>
                        <a:rPr lang="cs-CZ" sz="1200" b="0" i="0" kern="1200" dirty="0" smtClean="0">
                          <a:solidFill>
                            <a:schemeClr val="tx1"/>
                          </a:solidFill>
                          <a:effectLst/>
                          <a:latin typeface="+mn-lt"/>
                          <a:ea typeface="+mn-ea"/>
                          <a:cs typeface="+mn-cs"/>
                        </a:rPr>
                        <a:t> omezená cca 40-50%, situace se denně mění, hrozí další restrikce elektivní péče a pouze akutní provoz, začíná být velký problém nedostatek kvalifikovaného personálu v IP (lékaři i NLZP).</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Plzeňský </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kraji je lineární nárůst cca 10 pacientů denně, dochází k navýšení počtu pacientů jdoucích rovnou z terénu na JIP – v minulém týdnu cca 1hosp/denně, nyní 3 </a:t>
                      </a:r>
                      <a:r>
                        <a:rPr lang="cs-CZ" sz="1200" b="0" i="0" kern="1200" dirty="0" err="1" smtClean="0">
                          <a:solidFill>
                            <a:schemeClr val="tx1"/>
                          </a:solidFill>
                          <a:effectLst/>
                          <a:latin typeface="+mn-lt"/>
                          <a:ea typeface="+mn-ea"/>
                          <a:cs typeface="+mn-cs"/>
                        </a:rPr>
                        <a:t>hodsp</a:t>
                      </a:r>
                      <a:r>
                        <a:rPr lang="cs-CZ" sz="1200" b="0" i="0" kern="1200" dirty="0" smtClean="0">
                          <a:solidFill>
                            <a:schemeClr val="tx1"/>
                          </a:solidFill>
                          <a:effectLst/>
                          <a:latin typeface="+mn-lt"/>
                          <a:ea typeface="+mn-ea"/>
                          <a:cs typeface="+mn-cs"/>
                        </a:rPr>
                        <a:t>/den Problém personálu je ve všech zařízeních – extrémní v </a:t>
                      </a:r>
                      <a:r>
                        <a:rPr lang="cs-CZ" sz="1200" b="0" i="0" kern="1200" dirty="0" err="1" smtClean="0">
                          <a:solidFill>
                            <a:schemeClr val="tx1"/>
                          </a:solidFill>
                          <a:effectLst/>
                          <a:latin typeface="+mn-lt"/>
                          <a:ea typeface="+mn-ea"/>
                          <a:cs typeface="+mn-cs"/>
                        </a:rPr>
                        <a:t>nem.Sušice</a:t>
                      </a:r>
                      <a:r>
                        <a:rPr lang="cs-CZ" sz="1200" b="0" i="0" kern="1200" dirty="0" smtClean="0">
                          <a:solidFill>
                            <a:schemeClr val="tx1"/>
                          </a:solidFill>
                          <a:effectLst/>
                          <a:latin typeface="+mn-lt"/>
                          <a:ea typeface="+mn-ea"/>
                          <a:cs typeface="+mn-cs"/>
                        </a:rPr>
                        <a:t>, Stod Při absenci nouzového stavu a hromadného postižení osob nelze dobře rekrutovat pomocnou sílu do nemocnic a mnohem více zohledňovat edukaci a počet zdravotníků s ohledem na „normální“ provozní podmínky</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Vysočina</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V </a:t>
                      </a:r>
                      <a:r>
                        <a:rPr lang="cs-CZ" sz="1200" b="0" i="0" kern="1200" dirty="0" err="1" smtClean="0">
                          <a:solidFill>
                            <a:schemeClr val="tx1"/>
                          </a:solidFill>
                          <a:effectLst/>
                          <a:latin typeface="+mn-lt"/>
                          <a:ea typeface="+mn-ea"/>
                          <a:cs typeface="+mn-cs"/>
                        </a:rPr>
                        <a:t>přímořízených</a:t>
                      </a:r>
                      <a:r>
                        <a:rPr lang="cs-CZ" sz="1200" b="0" i="0" kern="1200" dirty="0" smtClean="0">
                          <a:solidFill>
                            <a:schemeClr val="tx1"/>
                          </a:solidFill>
                          <a:effectLst/>
                          <a:latin typeface="+mn-lt"/>
                          <a:ea typeface="+mn-ea"/>
                          <a:cs typeface="+mn-cs"/>
                        </a:rPr>
                        <a:t> nemocnicích kraje (Jihlava, Pelhřimov, </a:t>
                      </a:r>
                      <a:r>
                        <a:rPr lang="cs-CZ" sz="1200" b="0" i="0" kern="1200" dirty="0" err="1" smtClean="0">
                          <a:solidFill>
                            <a:schemeClr val="tx1"/>
                          </a:solidFill>
                          <a:effectLst/>
                          <a:latin typeface="+mn-lt"/>
                          <a:ea typeface="+mn-ea"/>
                          <a:cs typeface="+mn-cs"/>
                        </a:rPr>
                        <a:t>HavlBrod</a:t>
                      </a:r>
                      <a:r>
                        <a:rPr lang="cs-CZ" sz="1200" b="0" i="0" kern="1200" dirty="0" smtClean="0">
                          <a:solidFill>
                            <a:schemeClr val="tx1"/>
                          </a:solidFill>
                          <a:effectLst/>
                          <a:latin typeface="+mn-lt"/>
                          <a:ea typeface="+mn-ea"/>
                          <a:cs typeface="+mn-cs"/>
                        </a:rPr>
                        <a:t>, Třebíč, Nové Město n/M) Situace obdobná, zatím bez překladů v rámci kraj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6" name="Obdélník 5"/>
          <p:cNvSpPr/>
          <p:nvPr/>
        </p:nvSpPr>
        <p:spPr>
          <a:xfrm>
            <a:off x="10161253" y="206670"/>
            <a:ext cx="1364476" cy="369332"/>
          </a:xfrm>
          <a:prstGeom prst="rect">
            <a:avLst/>
          </a:prstGeom>
        </p:spPr>
        <p:txBody>
          <a:bodyPr wrap="none">
            <a:spAutoFit/>
          </a:bodyPr>
          <a:lstStyle/>
          <a:p>
            <a:r>
              <a:rPr lang="cs-CZ" dirty="0">
                <a:solidFill>
                  <a:schemeClr val="bg1"/>
                </a:solidFill>
              </a:rPr>
              <a:t>Zdroj: KKIP</a:t>
            </a:r>
          </a:p>
        </p:txBody>
      </p:sp>
    </p:spTree>
    <p:extLst>
      <p:ext uri="{BB962C8B-B14F-4D97-AF65-F5344CB8AC3E}">
        <p14:creationId xmlns:p14="http://schemas.microsoft.com/office/powerpoint/2010/main" val="105547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257351213"/>
              </p:ext>
            </p:extLst>
          </p:nvPr>
        </p:nvGraphicFramePr>
        <p:xfrm>
          <a:off x="381740" y="743816"/>
          <a:ext cx="11076016" cy="5348491"/>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Karlovar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p>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B - dochází k restrukturalizaci provozů, bez omezení jejich normální funkc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Schůzka se všemi nemocnicemi proběhla, snaha co nejdéle udržet elektivní péči. Před ev. omezením elektivní péče budeme informova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če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3.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Středočeský</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zásadně zhoršená, zvládnutelná lokálně</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C - dochází k omezení fungování oddělení ve prospěch </a:t>
                      </a:r>
                      <a:r>
                        <a:rPr lang="cs-CZ" sz="1200" b="0" i="0" kern="1200" dirty="0" err="1" smtClean="0">
                          <a:solidFill>
                            <a:schemeClr val="tx1"/>
                          </a:solidFill>
                          <a:effectLst/>
                          <a:latin typeface="+mn-lt"/>
                          <a:ea typeface="+mn-ea"/>
                          <a:cs typeface="+mn-cs"/>
                        </a:rPr>
                        <a:t>kovidových</a:t>
                      </a:r>
                      <a:r>
                        <a:rPr lang="cs-CZ" sz="1200" b="0" i="0" kern="1200" dirty="0" smtClean="0">
                          <a:solidFill>
                            <a:schemeClr val="tx1"/>
                          </a:solidFill>
                          <a:effectLst/>
                          <a:latin typeface="+mn-lt"/>
                          <a:ea typeface="+mn-ea"/>
                          <a:cs typeface="+mn-cs"/>
                        </a:rPr>
                        <a:t> jednotek, omezení </a:t>
                      </a:r>
                      <a:r>
                        <a:rPr lang="cs-CZ" sz="1200" b="0" i="0" kern="1200" dirty="0" err="1" smtClean="0">
                          <a:solidFill>
                            <a:schemeClr val="tx1"/>
                          </a:solidFill>
                          <a:effectLst/>
                          <a:latin typeface="+mn-lt"/>
                          <a:ea typeface="+mn-ea"/>
                          <a:cs typeface="+mn-cs"/>
                        </a:rPr>
                        <a:t>elektivy</a:t>
                      </a:r>
                      <a:r>
                        <a:rPr lang="cs-CZ" sz="1200" b="0" i="0" kern="1200" dirty="0" smtClean="0">
                          <a:solidFill>
                            <a:schemeClr val="tx1"/>
                          </a:solidFill>
                          <a:effectLst/>
                          <a:latin typeface="+mn-lt"/>
                          <a:ea typeface="+mn-ea"/>
                          <a:cs typeface="+mn-cs"/>
                        </a:rPr>
                        <a:t> do 2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V posledních dnech překlady pac. IP mezi ZZ v rámci kraje zejména z </a:t>
                      </a:r>
                      <a:r>
                        <a:rPr lang="cs-CZ" sz="1200" b="0" i="0" kern="1200" dirty="0" err="1" smtClean="0">
                          <a:solidFill>
                            <a:schemeClr val="tx1"/>
                          </a:solidFill>
                          <a:effectLst/>
                          <a:latin typeface="+mn-lt"/>
                          <a:ea typeface="+mn-ea"/>
                          <a:cs typeface="+mn-cs"/>
                        </a:rPr>
                        <a:t>kolínska</a:t>
                      </a:r>
                      <a:r>
                        <a:rPr lang="cs-CZ" sz="1200" b="0" i="0" kern="1200" dirty="0" smtClean="0">
                          <a:solidFill>
                            <a:schemeClr val="tx1"/>
                          </a:solidFill>
                          <a:effectLst/>
                          <a:latin typeface="+mn-lt"/>
                          <a:ea typeface="+mn-ea"/>
                          <a:cs typeface="+mn-cs"/>
                        </a:rPr>
                        <a:t> Oproti jarní vlně epidemie je zde dalším faktorem vyhoření zdravotníků generující další problémy U menších ZZ je jakákoli transformace na </a:t>
                      </a:r>
                      <a:r>
                        <a:rPr lang="cs-CZ" sz="1200" b="0" i="0" kern="1200" dirty="0" err="1" smtClean="0">
                          <a:solidFill>
                            <a:schemeClr val="tx1"/>
                          </a:solidFill>
                          <a:effectLst/>
                          <a:latin typeface="+mn-lt"/>
                          <a:ea typeface="+mn-ea"/>
                          <a:cs typeface="+mn-cs"/>
                        </a:rPr>
                        <a:t>covid</a:t>
                      </a:r>
                      <a:r>
                        <a:rPr lang="cs-CZ" sz="1200" b="0" i="0" kern="1200" dirty="0" smtClean="0">
                          <a:solidFill>
                            <a:schemeClr val="tx1"/>
                          </a:solidFill>
                          <a:effectLst/>
                          <a:latin typeface="+mn-lt"/>
                          <a:ea typeface="+mn-ea"/>
                          <a:cs typeface="+mn-cs"/>
                        </a:rPr>
                        <a:t> jednotku spojená s omezením jiné péče</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Jihomorav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6.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nemocnice v regionu na hraně svých kapacit, elektivní péče v podstatě zastavena, </a:t>
                      </a:r>
                      <a:r>
                        <a:rPr lang="cs-CZ" sz="1200" b="0" i="0" kern="1200" dirty="0" err="1" smtClean="0">
                          <a:solidFill>
                            <a:schemeClr val="tx1"/>
                          </a:solidFill>
                          <a:effectLst/>
                          <a:latin typeface="+mn-lt"/>
                          <a:ea typeface="+mn-ea"/>
                          <a:cs typeface="+mn-cs"/>
                        </a:rPr>
                        <a:t>JIPy</a:t>
                      </a:r>
                      <a:r>
                        <a:rPr lang="cs-CZ" sz="1200" b="0" i="0" kern="1200" dirty="0" smtClean="0">
                          <a:solidFill>
                            <a:schemeClr val="tx1"/>
                          </a:solidFill>
                          <a:effectLst/>
                          <a:latin typeface="+mn-lt"/>
                          <a:ea typeface="+mn-ea"/>
                          <a:cs typeface="+mn-cs"/>
                        </a:rPr>
                        <a:t> plné</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E - vyčerpány lidské i materiální zdroje</a:t>
                      </a: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Odlišná situace v různých okresech JMK – nejhorší v BM, BV (+Blansko a Vyškov).</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235144" y="206670"/>
            <a:ext cx="1364476" cy="369332"/>
          </a:xfrm>
          <a:prstGeom prst="rect">
            <a:avLst/>
          </a:prstGeom>
        </p:spPr>
        <p:txBody>
          <a:bodyPr wrap="none">
            <a:spAutoFit/>
          </a:bodyPr>
          <a:lstStyle/>
          <a:p>
            <a:r>
              <a:rPr lang="cs-CZ" dirty="0">
                <a:solidFill>
                  <a:schemeClr val="bg1"/>
                </a:solidFill>
              </a:rPr>
              <a:t>Zdroj: KKIP</a:t>
            </a:r>
          </a:p>
        </p:txBody>
      </p:sp>
    </p:spTree>
    <p:extLst>
      <p:ext uri="{BB962C8B-B14F-4D97-AF65-F5344CB8AC3E}">
        <p14:creationId xmlns:p14="http://schemas.microsoft.com/office/powerpoint/2010/main" val="103385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Hodnocení situace v krajích </a:t>
            </a:r>
          </a:p>
        </p:txBody>
      </p:sp>
      <p:graphicFrame>
        <p:nvGraphicFramePr>
          <p:cNvPr id="3" name="Tabulka 2"/>
          <p:cNvGraphicFramePr>
            <a:graphicFrameLocks noGrp="1"/>
          </p:cNvGraphicFramePr>
          <p:nvPr>
            <p:extLst>
              <p:ext uri="{D42A27DB-BD31-4B8C-83A1-F6EECF244321}">
                <p14:modId xmlns:p14="http://schemas.microsoft.com/office/powerpoint/2010/main" val="809340068"/>
              </p:ext>
            </p:extLst>
          </p:nvPr>
        </p:nvGraphicFramePr>
        <p:xfrm>
          <a:off x="381740" y="743816"/>
          <a:ext cx="11076016" cy="6275056"/>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2325">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78418">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Ústec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smtClean="0"/>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C - dochází k omezení fungování oddělení ve prospěch </a:t>
                      </a:r>
                      <a:r>
                        <a:rPr lang="cs-CZ" sz="1200" dirty="0" err="1" smtClean="0"/>
                        <a:t>kovidových</a:t>
                      </a:r>
                      <a:r>
                        <a:rPr lang="cs-CZ" sz="1200" dirty="0" smtClean="0"/>
                        <a:t> jednotek, omezení </a:t>
                      </a:r>
                      <a:r>
                        <a:rPr lang="cs-CZ" sz="1200" dirty="0" err="1" smtClean="0"/>
                        <a:t>elektivy</a:t>
                      </a:r>
                      <a:r>
                        <a:rPr lang="cs-CZ" sz="1200" dirty="0" smtClean="0"/>
                        <a:t> do 20% </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dirty="0" smtClean="0"/>
                        <a:t>Trvá nárůst C19 hospitalizací, výrazněji standard než JIP. Některé nemocnice jsou na stropu personální kapacity (Litoměřice), ostatní poskytují péči ve výrazně </a:t>
                      </a:r>
                      <a:r>
                        <a:rPr lang="cs-CZ" sz="1200" dirty="0" err="1" smtClean="0"/>
                        <a:t>suboptimálním</a:t>
                      </a:r>
                      <a:r>
                        <a:rPr lang="cs-CZ" sz="1200" dirty="0" smtClean="0"/>
                        <a:t> personálním zajištění (zejména NLZP), pro další rozšíření péče je klíčové personální posílení. </a:t>
                      </a:r>
                      <a:r>
                        <a:rPr lang="cs-CZ" sz="1200" dirty="0" err="1" smtClean="0"/>
                        <a:t>Limitovaně</a:t>
                      </a:r>
                      <a:r>
                        <a:rPr lang="cs-CZ" sz="1200" dirty="0" smtClean="0"/>
                        <a:t> lze zajistit v redistribucí v rámci nemocnic, s předpokladem dalšího nárůstu počtů pacientů je potřeba i externího posílení alespoň pomocným personálem (AČR, HZS, studenti).</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54125">
                <a:tc>
                  <a:txBody>
                    <a:bodyPr/>
                    <a:lstStyle/>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Zlínský</a:t>
                      </a:r>
                    </a:p>
                    <a:p>
                      <a:pPr>
                        <a:spcBef>
                          <a:spcPts val="600"/>
                        </a:spcBef>
                        <a:spcAft>
                          <a:spcPts val="0"/>
                        </a:spcAft>
                      </a:pPr>
                      <a:r>
                        <a:rPr lang="cs-CZ" sz="1200" b="1" dirty="0" smtClean="0">
                          <a:effectLst/>
                          <a:latin typeface="Calibri" panose="020F0502020204030204" pitchFamily="34" charset="0"/>
                          <a:ea typeface="Calibri" panose="020F0502020204030204" pitchFamily="34" charset="0"/>
                          <a:cs typeface="Times New Roman" panose="02020603050405020304" pitchFamily="18" charset="0"/>
                        </a:rPr>
                        <a:t>18.11.21</a:t>
                      </a: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mírně krizová, je v silách KKIP vyřeši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D - je zásadně omezená elektivní operativa (o více než 50%)</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dirty="0" smtClean="0">
                          <a:solidFill>
                            <a:srgbClr val="000000"/>
                          </a:solidFill>
                          <a:effectLst/>
                          <a:latin typeface="Calibri" panose="020F0502020204030204" pitchFamily="34" charset="0"/>
                          <a:cs typeface="Calibri" panose="020F0502020204030204" pitchFamily="34" charset="0"/>
                        </a:rPr>
                        <a:t>D - chybí personál, při jeho navýšení je možné provozovat další lůžka</a:t>
                      </a:r>
                      <a:endParaRPr lang="cs-CZ" sz="1200" dirty="0">
                        <a:effectLst/>
                        <a:latin typeface="Calibri" panose="020F0502020204030204" pitchFamily="34" charset="0"/>
                        <a:ea typeface="Calibri" panose="020F0502020204030204" pitchFamily="34" charset="0"/>
                        <a:cs typeface="Calibri" panose="020F0502020204030204" pitchFamily="34"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C000"/>
                    </a:solidFill>
                  </a:tcPr>
                </a:tc>
                <a:tc>
                  <a:txBody>
                    <a:bodyPr/>
                    <a:lstStyle/>
                    <a:p>
                      <a:pPr>
                        <a:spcBef>
                          <a:spcPts val="600"/>
                        </a:spcBef>
                        <a:spcAft>
                          <a:spcPts val="0"/>
                        </a:spcAft>
                      </a:pPr>
                      <a:r>
                        <a:rPr lang="cs-CZ" sz="1200" b="0" i="0" kern="1200" dirty="0" smtClean="0">
                          <a:solidFill>
                            <a:schemeClr val="tx1"/>
                          </a:solidFill>
                          <a:effectLst/>
                          <a:latin typeface="+mn-lt"/>
                          <a:ea typeface="+mn-ea"/>
                          <a:cs typeface="+mn-cs"/>
                        </a:rPr>
                        <a:t>18.11. situace riziková, zatím klidná, bez překladů v rámci kraje. Připravujeme se na prediktivní hodnoty zatížení JIP a standardu v prosinci, tato čísla nejsme schopni zvládnout</a:t>
                      </a: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r h="1173463">
                <a:tc>
                  <a:txBody>
                    <a:bodyPr/>
                    <a:lstStyle/>
                    <a:p>
                      <a:pPr>
                        <a:spcBef>
                          <a:spcPts val="600"/>
                        </a:spcBef>
                        <a:spcAft>
                          <a:spcPts val="0"/>
                        </a:spcAft>
                      </a:pPr>
                      <a:endParaRPr lang="cs-CZ"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b="0" i="0" kern="1200" dirty="0">
                        <a:solidFill>
                          <a:schemeClr val="tx1"/>
                        </a:solidFill>
                        <a:effectLst/>
                        <a:latin typeface="+mn-lt"/>
                        <a:ea typeface="+mn-ea"/>
                        <a:cs typeface="+mn-cs"/>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spcBef>
                          <a:spcPts val="600"/>
                        </a:spcBef>
                        <a:spcAft>
                          <a:spcPts val="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05440"/>
                  </a:ext>
                </a:extLst>
              </a:tr>
            </a:tbl>
          </a:graphicData>
        </a:graphic>
      </p:graphicFrame>
      <p:sp>
        <p:nvSpPr>
          <p:cNvPr id="4" name="Obdélník 3"/>
          <p:cNvSpPr/>
          <p:nvPr/>
        </p:nvSpPr>
        <p:spPr>
          <a:xfrm>
            <a:off x="10093280" y="206670"/>
            <a:ext cx="1364476" cy="369332"/>
          </a:xfrm>
          <a:prstGeom prst="rect">
            <a:avLst/>
          </a:prstGeom>
        </p:spPr>
        <p:txBody>
          <a:bodyPr wrap="square">
            <a:spAutoFit/>
          </a:bodyPr>
          <a:lstStyle/>
          <a:p>
            <a:r>
              <a:rPr lang="cs-CZ" dirty="0">
                <a:solidFill>
                  <a:schemeClr val="bg1"/>
                </a:solidFill>
              </a:rPr>
              <a:t>Zdroj: KKIP</a:t>
            </a:r>
          </a:p>
        </p:txBody>
      </p:sp>
    </p:spTree>
    <p:extLst>
      <p:ext uri="{BB962C8B-B14F-4D97-AF65-F5344CB8AC3E}">
        <p14:creationId xmlns:p14="http://schemas.microsoft.com/office/powerpoint/2010/main" val="3133070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lůžka IP C+ pacienty k </a:t>
            </a:r>
          </a:p>
          <a:p>
            <a:pPr algn="ctr"/>
            <a:r>
              <a:rPr lang="cs-CZ" b="1" dirty="0" smtClean="0"/>
              <a:t>21</a:t>
            </a:r>
            <a:r>
              <a:rPr lang="cs-CZ" b="1" dirty="0" smtClean="0"/>
              <a:t>.11.2021 </a:t>
            </a:r>
            <a:r>
              <a:rPr lang="cs-CZ" b="1" dirty="0" smtClean="0"/>
              <a:t>00:20</a:t>
            </a:r>
          </a:p>
          <a:p>
            <a:pPr algn="ctr"/>
            <a:endParaRPr lang="cs-CZ" b="1" dirty="0"/>
          </a:p>
          <a:p>
            <a:pPr algn="ctr"/>
            <a:r>
              <a:rPr lang="cs-CZ" b="1" dirty="0" smtClean="0"/>
              <a:t>711</a:t>
            </a:r>
            <a:endParaRPr lang="cs-CZ" b="1" dirty="0" smtClean="0"/>
          </a:p>
          <a:p>
            <a:pPr algn="ctr"/>
            <a:endParaRPr lang="cs-CZ" sz="2000" b="1" dirty="0"/>
          </a:p>
        </p:txBody>
      </p:sp>
      <p:graphicFrame>
        <p:nvGraphicFramePr>
          <p:cNvPr id="8" name="Tabulka 7"/>
          <p:cNvGraphicFramePr>
            <a:graphicFrameLocks noGrp="1"/>
          </p:cNvGraphicFramePr>
          <p:nvPr>
            <p:extLst>
              <p:ext uri="{D42A27DB-BD31-4B8C-83A1-F6EECF244321}">
                <p14:modId xmlns:p14="http://schemas.microsoft.com/office/powerpoint/2010/main" val="2443844818"/>
              </p:ext>
            </p:extLst>
          </p:nvPr>
        </p:nvGraphicFramePr>
        <p:xfrm>
          <a:off x="332817" y="979058"/>
          <a:ext cx="8866600" cy="5321905"/>
        </p:xfrm>
        <a:graphic>
          <a:graphicData uri="http://schemas.openxmlformats.org/drawingml/2006/table">
            <a:tbl>
              <a:tblPr/>
              <a:tblGrid>
                <a:gridCol w="2362133">
                  <a:extLst>
                    <a:ext uri="{9D8B030D-6E8A-4147-A177-3AD203B41FA5}">
                      <a16:colId xmlns:a16="http://schemas.microsoft.com/office/drawing/2014/main" val="1440274385"/>
                    </a:ext>
                  </a:extLst>
                </a:gridCol>
                <a:gridCol w="1345321">
                  <a:extLst>
                    <a:ext uri="{9D8B030D-6E8A-4147-A177-3AD203B41FA5}">
                      <a16:colId xmlns:a16="http://schemas.microsoft.com/office/drawing/2014/main" val="3116791282"/>
                    </a:ext>
                  </a:extLst>
                </a:gridCol>
                <a:gridCol w="1329677">
                  <a:extLst>
                    <a:ext uri="{9D8B030D-6E8A-4147-A177-3AD203B41FA5}">
                      <a16:colId xmlns:a16="http://schemas.microsoft.com/office/drawing/2014/main" val="962811761"/>
                    </a:ext>
                  </a:extLst>
                </a:gridCol>
                <a:gridCol w="1329677">
                  <a:extLst>
                    <a:ext uri="{9D8B030D-6E8A-4147-A177-3AD203B41FA5}">
                      <a16:colId xmlns:a16="http://schemas.microsoft.com/office/drawing/2014/main" val="2058101296"/>
                    </a:ext>
                  </a:extLst>
                </a:gridCol>
                <a:gridCol w="1392250">
                  <a:extLst>
                    <a:ext uri="{9D8B030D-6E8A-4147-A177-3AD203B41FA5}">
                      <a16:colId xmlns:a16="http://schemas.microsoft.com/office/drawing/2014/main" val="973235588"/>
                    </a:ext>
                  </a:extLst>
                </a:gridCol>
                <a:gridCol w="1107542">
                  <a:extLst>
                    <a:ext uri="{9D8B030D-6E8A-4147-A177-3AD203B41FA5}">
                      <a16:colId xmlns:a16="http://schemas.microsoft.com/office/drawing/2014/main" val="4179561393"/>
                    </a:ext>
                  </a:extLst>
                </a:gridCol>
              </a:tblGrid>
              <a:tr h="220304">
                <a:tc gridSpan="6">
                  <a:txBody>
                    <a:bodyPr/>
                    <a:lstStyle/>
                    <a:p>
                      <a:pPr algn="ctr" fontAlgn="ctr"/>
                      <a:r>
                        <a:rPr lang="cs-CZ" sz="1200" b="1" i="0" u="none" strike="noStrike" dirty="0">
                          <a:solidFill>
                            <a:srgbClr val="000000"/>
                          </a:solidFill>
                          <a:effectLst/>
                          <a:latin typeface="Calibri" panose="020F0502020204030204" pitchFamily="34" charset="0"/>
                        </a:rPr>
                        <a:t>Neinfekční oddělení</a:t>
                      </a:r>
                    </a:p>
                  </a:txBody>
                  <a:tcPr marL="5157" marR="5157" marT="5157"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102283596"/>
                  </a:ext>
                </a:extLst>
              </a:tr>
              <a:tr h="220304">
                <a:tc gridSpan="6">
                  <a:txBody>
                    <a:bodyPr/>
                    <a:lstStyle/>
                    <a:p>
                      <a:pPr algn="l" fontAlgn="ctr"/>
                      <a:r>
                        <a:rPr lang="cs-CZ" sz="1200" b="1" i="0" u="none" strike="noStrike">
                          <a:solidFill>
                            <a:srgbClr val="000000"/>
                          </a:solidFill>
                          <a:effectLst/>
                          <a:latin typeface="Calibri" panose="020F0502020204030204" pitchFamily="34" charset="0"/>
                        </a:rPr>
                        <a:t>Přehled kapacit lůžek IP (ARO + JIP) v ČR k 21.11. 2021, 11:00 h</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953419407"/>
                  </a:ext>
                </a:extLst>
              </a:tr>
              <a:tr h="182538">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7872921"/>
                  </a:ext>
                </a:extLst>
              </a:tr>
              <a:tr h="195127">
                <a:tc rowSpan="2">
                  <a:txBody>
                    <a:bodyPr/>
                    <a:lstStyle/>
                    <a:p>
                      <a:pPr algn="ctr" fontAlgn="ctr"/>
                      <a:r>
                        <a:rPr lang="cs-CZ" sz="1200" b="1" i="0" u="none" strike="noStrike" dirty="0">
                          <a:solidFill>
                            <a:srgbClr val="000000"/>
                          </a:solidFill>
                          <a:effectLst/>
                          <a:latin typeface="Calibri" panose="020F0502020204030204" pitchFamily="34" charset="0"/>
                        </a:rPr>
                        <a:t>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 Lůžka IP</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765357060"/>
                  </a:ext>
                </a:extLst>
              </a:tr>
              <a:tr h="761624">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extLst>
                  <a:ext uri="{0D108BD9-81ED-4DB2-BD59-A6C34878D82A}">
                    <a16:rowId xmlns:a16="http://schemas.microsoft.com/office/drawing/2014/main" val="3040098738"/>
                  </a:ext>
                </a:extLst>
              </a:tr>
              <a:tr h="188832">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85</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8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544602208"/>
                  </a:ext>
                </a:extLst>
              </a:tr>
              <a:tr h="188832">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4</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6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dirty="0">
                          <a:solidFill>
                            <a:srgbClr val="000000"/>
                          </a:solidFill>
                          <a:effectLst/>
                          <a:latin typeface="Calibri" panose="020F0502020204030204" pitchFamily="34" charset="0"/>
                        </a:rPr>
                        <a:t>2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72051741"/>
                  </a:ext>
                </a:extLst>
              </a:tr>
              <a:tr h="188832">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3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58428813"/>
                  </a:ext>
                </a:extLst>
              </a:tr>
              <a:tr h="188832">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3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8639398"/>
                  </a:ext>
                </a:extLst>
              </a:tr>
              <a:tr h="196701">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0</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cs-CZ" sz="1200" b="0" i="0" u="none" strike="noStrike" dirty="0">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929941270"/>
                  </a:ext>
                </a:extLst>
              </a:tr>
              <a:tr h="188832">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87640729"/>
                  </a:ext>
                </a:extLst>
              </a:tr>
              <a:tr h="188832">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dirty="0">
                          <a:solidFill>
                            <a:srgbClr val="000000"/>
                          </a:solidFill>
                          <a:effectLst/>
                          <a:latin typeface="Calibri" panose="020F0502020204030204" pitchFamily="34" charset="0"/>
                        </a:rPr>
                        <a:t>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948604074"/>
                  </a:ext>
                </a:extLst>
              </a:tr>
              <a:tr h="188832">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3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9</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4485271"/>
                  </a:ext>
                </a:extLst>
              </a:tr>
              <a:tr h="188832">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1</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cs-CZ" sz="1200" b="0" i="0" u="none" strike="noStrike">
                          <a:solidFill>
                            <a:srgbClr val="000000"/>
                          </a:solidFill>
                          <a:effectLst/>
                          <a:latin typeface="Calibri" panose="020F0502020204030204" pitchFamily="34" charset="0"/>
                        </a:rPr>
                        <a:t>2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71135475"/>
                  </a:ext>
                </a:extLst>
              </a:tr>
              <a:tr h="188832">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9</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3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9</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32497857"/>
                  </a:ext>
                </a:extLst>
              </a:tr>
              <a:tr h="188832">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7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4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62</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939425143"/>
                  </a:ext>
                </a:extLst>
              </a:tr>
              <a:tr h="188832">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8</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34</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53185914"/>
                  </a:ext>
                </a:extLst>
              </a:tr>
              <a:tr h="188832">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76</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0</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31</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421153970"/>
                  </a:ext>
                </a:extLst>
              </a:tr>
              <a:tr h="212437">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506</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93</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2</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56</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0" i="0" u="none" strike="noStrike">
                          <a:solidFill>
                            <a:srgbClr val="000000"/>
                          </a:solidFill>
                          <a:effectLst/>
                          <a:latin typeface="Calibri" panose="020F0502020204030204" pitchFamily="34" charset="0"/>
                        </a:rPr>
                        <a:t>18</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7957751"/>
                  </a:ext>
                </a:extLst>
              </a:tr>
              <a:tr h="204569">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3 657</a:t>
                      </a:r>
                    </a:p>
                  </a:txBody>
                  <a:tcPr marL="5157" marR="5157" marT="51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39</a:t>
                      </a:r>
                    </a:p>
                  </a:txBody>
                  <a:tcPr marL="5157" marR="5157" marT="51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297</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46</a:t>
                      </a:r>
                    </a:p>
                  </a:txBody>
                  <a:tcPr marL="5157" marR="5157" marT="51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dirty="0">
                          <a:solidFill>
                            <a:srgbClr val="000000"/>
                          </a:solidFill>
                          <a:effectLst/>
                          <a:latin typeface="Calibri" panose="020F0502020204030204" pitchFamily="34" charset="0"/>
                        </a:rPr>
                        <a:t>157</a:t>
                      </a:r>
                    </a:p>
                  </a:txBody>
                  <a:tcPr marL="5157" marR="5157" marT="51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6242774"/>
                  </a:ext>
                </a:extLst>
              </a:tr>
              <a:tr h="267512">
                <a:tc gridSpan="6">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157" marR="5157" marT="51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62738520"/>
                  </a:ext>
                </a:extLst>
              </a:tr>
              <a:tr h="182538">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2377684233"/>
                  </a:ext>
                </a:extLst>
              </a:tr>
              <a:tr h="212437">
                <a:tc>
                  <a:txBody>
                    <a:bodyPr/>
                    <a:lstStyle/>
                    <a:p>
                      <a:pPr algn="r" fontAlgn="ctr"/>
                      <a:r>
                        <a:rPr lang="cs-CZ" sz="1200" b="1" i="0" u="none" strike="noStrike">
                          <a:solidFill>
                            <a:srgbClr val="000000"/>
                          </a:solidFill>
                          <a:effectLst/>
                          <a:latin typeface="Calibri" panose="020F0502020204030204" pitchFamily="34" charset="0"/>
                        </a:rPr>
                        <a:t>Legenda:  </a:t>
                      </a:r>
                    </a:p>
                  </a:txBody>
                  <a:tcPr marL="5157" marR="5157" marT="51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57" marR="5157" marT="51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57" marR="5157" marT="51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57" marR="5157" marT="5157"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57" marR="5157" marT="5157" marB="0" anchor="ctr">
                    <a:lnL>
                      <a:noFill/>
                    </a:lnL>
                    <a:lnR>
                      <a:noFill/>
                    </a:lnR>
                    <a:lnT>
                      <a:noFill/>
                    </a:lnT>
                    <a:lnB>
                      <a:noFill/>
                    </a:lnB>
                    <a:solidFill>
                      <a:srgbClr val="FA8976"/>
                    </a:solidFill>
                  </a:tcPr>
                </a:tc>
                <a:tc>
                  <a:txBody>
                    <a:bodyPr/>
                    <a:lstStyle/>
                    <a:p>
                      <a:pPr algn="ctr" fontAlgn="ctr"/>
                      <a:r>
                        <a:rPr lang="cs-CZ" sz="1200" b="1" i="0" u="none" strike="noStrike" dirty="0">
                          <a:solidFill>
                            <a:srgbClr val="000000"/>
                          </a:solidFill>
                          <a:effectLst/>
                          <a:latin typeface="Calibri" panose="020F0502020204030204" pitchFamily="34" charset="0"/>
                        </a:rPr>
                        <a:t>10 - 0 %</a:t>
                      </a:r>
                    </a:p>
                  </a:txBody>
                  <a:tcPr marL="5157" marR="5157" marT="5157" marB="0" anchor="ctr">
                    <a:lnL>
                      <a:noFill/>
                    </a:lnL>
                    <a:lnR>
                      <a:noFill/>
                    </a:lnR>
                    <a:lnT>
                      <a:noFill/>
                    </a:lnT>
                    <a:lnB>
                      <a:noFill/>
                    </a:lnB>
                    <a:solidFill>
                      <a:srgbClr val="FF0000"/>
                    </a:solidFill>
                  </a:tcPr>
                </a:tc>
                <a:extLst>
                  <a:ext uri="{0D108BD9-81ED-4DB2-BD59-A6C34878D82A}">
                    <a16:rowId xmlns:a16="http://schemas.microsoft.com/office/drawing/2014/main" val="4150696369"/>
                  </a:ext>
                </a:extLst>
              </a:tr>
              <a:tr h="188832">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57" marR="5157" marT="51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3x</a:t>
                      </a:r>
                      <a:endParaRPr lang="cs-CZ" sz="1200" b="1"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57" marR="5157" marT="5157" marB="0" anchor="ctr">
                    <a:lnL>
                      <a:noFill/>
                    </a:lnL>
                    <a:lnR>
                      <a:noFill/>
                    </a:lnR>
                    <a:lnT>
                      <a:noFill/>
                    </a:lnT>
                    <a:lnB>
                      <a:noFill/>
                    </a:lnB>
                  </a:tcPr>
                </a:tc>
                <a:extLst>
                  <a:ext uri="{0D108BD9-81ED-4DB2-BD59-A6C34878D82A}">
                    <a16:rowId xmlns:a16="http://schemas.microsoft.com/office/drawing/2014/main" val="1679658378"/>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8" name="Tabulka 7"/>
          <p:cNvGraphicFramePr>
            <a:graphicFrameLocks noGrp="1"/>
          </p:cNvGraphicFramePr>
          <p:nvPr>
            <p:extLst>
              <p:ext uri="{D42A27DB-BD31-4B8C-83A1-F6EECF244321}">
                <p14:modId xmlns:p14="http://schemas.microsoft.com/office/powerpoint/2010/main" val="3010456406"/>
              </p:ext>
            </p:extLst>
          </p:nvPr>
        </p:nvGraphicFramePr>
        <p:xfrm>
          <a:off x="332819" y="988291"/>
          <a:ext cx="9885238" cy="5342289"/>
        </p:xfrm>
        <a:graphic>
          <a:graphicData uri="http://schemas.openxmlformats.org/drawingml/2006/table">
            <a:tbl>
              <a:tblPr/>
              <a:tblGrid>
                <a:gridCol w="2276106">
                  <a:extLst>
                    <a:ext uri="{9D8B030D-6E8A-4147-A177-3AD203B41FA5}">
                      <a16:colId xmlns:a16="http://schemas.microsoft.com/office/drawing/2014/main" val="3818079566"/>
                    </a:ext>
                  </a:extLst>
                </a:gridCol>
                <a:gridCol w="1296326">
                  <a:extLst>
                    <a:ext uri="{9D8B030D-6E8A-4147-A177-3AD203B41FA5}">
                      <a16:colId xmlns:a16="http://schemas.microsoft.com/office/drawing/2014/main" val="2046474388"/>
                    </a:ext>
                  </a:extLst>
                </a:gridCol>
                <a:gridCol w="1281252">
                  <a:extLst>
                    <a:ext uri="{9D8B030D-6E8A-4147-A177-3AD203B41FA5}">
                      <a16:colId xmlns:a16="http://schemas.microsoft.com/office/drawing/2014/main" val="1375281471"/>
                    </a:ext>
                  </a:extLst>
                </a:gridCol>
                <a:gridCol w="1281252">
                  <a:extLst>
                    <a:ext uri="{9D8B030D-6E8A-4147-A177-3AD203B41FA5}">
                      <a16:colId xmlns:a16="http://schemas.microsoft.com/office/drawing/2014/main" val="226432775"/>
                    </a:ext>
                  </a:extLst>
                </a:gridCol>
                <a:gridCol w="1341547">
                  <a:extLst>
                    <a:ext uri="{9D8B030D-6E8A-4147-A177-3AD203B41FA5}">
                      <a16:colId xmlns:a16="http://schemas.microsoft.com/office/drawing/2014/main" val="3915181329"/>
                    </a:ext>
                  </a:extLst>
                </a:gridCol>
                <a:gridCol w="1067208">
                  <a:extLst>
                    <a:ext uri="{9D8B030D-6E8A-4147-A177-3AD203B41FA5}">
                      <a16:colId xmlns:a16="http://schemas.microsoft.com/office/drawing/2014/main" val="1821668702"/>
                    </a:ext>
                  </a:extLst>
                </a:gridCol>
                <a:gridCol w="1341547">
                  <a:extLst>
                    <a:ext uri="{9D8B030D-6E8A-4147-A177-3AD203B41FA5}">
                      <a16:colId xmlns:a16="http://schemas.microsoft.com/office/drawing/2014/main" val="3793263419"/>
                    </a:ext>
                  </a:extLst>
                </a:gridCol>
              </a:tblGrid>
              <a:tr h="210988">
                <a:tc gridSpan="6">
                  <a:txBody>
                    <a:bodyPr/>
                    <a:lstStyle/>
                    <a:p>
                      <a:pPr algn="ctr" fontAlgn="ctr"/>
                      <a:r>
                        <a:rPr lang="cs-CZ" sz="1200" b="1" i="0" u="none" strike="noStrike" dirty="0">
                          <a:solidFill>
                            <a:srgbClr val="000000"/>
                          </a:solidFill>
                          <a:effectLst/>
                          <a:latin typeface="Calibri" panose="020F0502020204030204" pitchFamily="34" charset="0"/>
                        </a:rPr>
                        <a:t>Infekční oddělení</a:t>
                      </a:r>
                    </a:p>
                  </a:txBody>
                  <a:tcPr marL="5101" marR="5101" marT="5101"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040001455"/>
                  </a:ext>
                </a:extLst>
              </a:tr>
              <a:tr h="218075">
                <a:tc gridSpan="7">
                  <a:txBody>
                    <a:bodyPr/>
                    <a:lstStyle/>
                    <a:p>
                      <a:pPr algn="l" fontAlgn="ctr"/>
                      <a:r>
                        <a:rPr lang="cs-CZ" sz="1200" b="1" i="0" u="none" strike="noStrike">
                          <a:solidFill>
                            <a:srgbClr val="000000"/>
                          </a:solidFill>
                          <a:effectLst/>
                          <a:latin typeface="Calibri" panose="020F0502020204030204" pitchFamily="34" charset="0"/>
                        </a:rPr>
                        <a:t>Přehled kapacit lůžek IP na Infekčním oddělení (ARO + JIP) v ČR k 21.11. 2021, 11:00 h</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031412773"/>
                  </a:ext>
                </a:extLst>
              </a:tr>
              <a:tr h="193151">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2011878712"/>
                  </a:ext>
                </a:extLst>
              </a:tr>
              <a:tr h="193151">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200" b="1" i="0" u="none" strike="noStrike" dirty="0">
                          <a:solidFill>
                            <a:srgbClr val="000000"/>
                          </a:solidFill>
                          <a:effectLst/>
                          <a:latin typeface="Calibri" panose="020F0502020204030204" pitchFamily="34" charset="0"/>
                        </a:rPr>
                        <a:t>Lůžka IP na Infekčním oddělení</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15531541"/>
                  </a:ext>
                </a:extLst>
              </a:tr>
              <a:tr h="753914">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IP lůžek</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HFNO+UPV)</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dirty="0">
                          <a:solidFill>
                            <a:srgbClr val="000000"/>
                          </a:solidFill>
                          <a:effectLst/>
                          <a:latin typeface="Calibri" panose="020F0502020204030204" pitchFamily="34" charset="0"/>
                        </a:rPr>
                        <a:t>Volná lůžka HFNO</a:t>
                      </a:r>
                      <a:br>
                        <a:rPr lang="cs-CZ" sz="1200" b="1" i="0" u="none" strike="noStrike" dirty="0">
                          <a:solidFill>
                            <a:srgbClr val="000000"/>
                          </a:solidFill>
                          <a:effectLst/>
                          <a:latin typeface="Calibri" panose="020F0502020204030204" pitchFamily="34" charset="0"/>
                        </a:rPr>
                      </a:br>
                      <a:r>
                        <a:rPr lang="cs-CZ" sz="1200" b="1" i="0" u="none" strike="noStrike" dirty="0">
                          <a:solidFill>
                            <a:srgbClr val="000000"/>
                          </a:solidFill>
                          <a:effectLst/>
                          <a:latin typeface="Calibri" panose="020F0502020204030204" pitchFamily="34" charset="0"/>
                        </a:rPr>
                        <a:t>(JIP)</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HFNO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UPV</a:t>
                      </a:r>
                      <a:br>
                        <a:rPr lang="cs-CZ" sz="1200" b="1" i="0" u="none" strike="noStrike">
                          <a:solidFill>
                            <a:srgbClr val="000000"/>
                          </a:solidFill>
                          <a:effectLst/>
                          <a:latin typeface="Calibri" panose="020F0502020204030204" pitchFamily="34" charset="0"/>
                        </a:rPr>
                      </a:br>
                      <a:r>
                        <a:rPr lang="cs-CZ" sz="1200" b="1" i="0" u="none" strike="noStrike">
                          <a:solidFill>
                            <a:srgbClr val="000000"/>
                          </a:solidFill>
                          <a:effectLst/>
                          <a:latin typeface="Calibri" panose="020F0502020204030204" pitchFamily="34" charset="0"/>
                        </a:rPr>
                        <a:t>(ARO)</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UPV pro Covid+</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45722726"/>
                  </a:ext>
                </a:extLst>
              </a:tr>
              <a:tr h="186920">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13</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22392666"/>
                  </a:ext>
                </a:extLst>
              </a:tr>
              <a:tr h="186920">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29479659"/>
                  </a:ext>
                </a:extLst>
              </a:tr>
              <a:tr h="186920">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64909269"/>
                  </a:ext>
                </a:extLst>
              </a:tr>
              <a:tr h="186920">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2</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03363684"/>
                  </a:ext>
                </a:extLst>
              </a:tr>
              <a:tr h="186920">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02783329"/>
                  </a:ext>
                </a:extLst>
              </a:tr>
              <a:tr h="186920">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34721183"/>
                  </a:ext>
                </a:extLst>
              </a:tr>
              <a:tr h="186920">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49351042"/>
                  </a:ext>
                </a:extLst>
              </a:tr>
              <a:tr h="194709">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797"/>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95446619"/>
                  </a:ext>
                </a:extLst>
              </a:tr>
              <a:tr h="186920">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3</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38088862"/>
                  </a:ext>
                </a:extLst>
              </a:tr>
              <a:tr h="186920">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42541539"/>
                  </a:ext>
                </a:extLst>
              </a:tr>
              <a:tr h="186920">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9</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36418262"/>
                  </a:ext>
                </a:extLst>
              </a:tr>
              <a:tr h="186920">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6</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6</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42432736"/>
                  </a:ext>
                </a:extLst>
              </a:tr>
              <a:tr h="186920">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64</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28007194"/>
                  </a:ext>
                </a:extLst>
              </a:tr>
              <a:tr h="193151">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8</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0028345"/>
                  </a:ext>
                </a:extLst>
              </a:tr>
              <a:tr h="210286">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300</a:t>
                      </a:r>
                    </a:p>
                  </a:txBody>
                  <a:tcPr marL="5101" marR="5101" marT="510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80</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78</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5</a:t>
                      </a:r>
                    </a:p>
                  </a:txBody>
                  <a:tcPr marL="5101" marR="5101" marT="510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1</a:t>
                      </a:r>
                    </a:p>
                  </a:txBody>
                  <a:tcPr marL="5101" marR="5101" marT="510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72421769"/>
                  </a:ext>
                </a:extLst>
              </a:tr>
              <a:tr h="186920">
                <a:tc gridSpan="6">
                  <a:txBody>
                    <a:bodyPr/>
                    <a:lstStyle/>
                    <a:p>
                      <a:pPr algn="r" fontAlgn="ctr"/>
                      <a:r>
                        <a:rPr lang="cs-CZ" sz="1200" b="1" i="0" u="none" strike="noStrike">
                          <a:solidFill>
                            <a:srgbClr val="000000"/>
                          </a:solidFill>
                          <a:effectLst/>
                          <a:latin typeface="Calibri" panose="020F0502020204030204" pitchFamily="34" charset="0"/>
                        </a:rPr>
                        <a:t>                  Zdroj: Online databáze NDLP ÚZIS </a:t>
                      </a:r>
                    </a:p>
                  </a:txBody>
                  <a:tcPr marL="5101" marR="5101" marT="5101"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4192335658"/>
                  </a:ext>
                </a:extLst>
              </a:tr>
              <a:tr h="180690">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847663663"/>
                  </a:ext>
                </a:extLst>
              </a:tr>
              <a:tr h="355149">
                <a:tc>
                  <a:txBody>
                    <a:bodyPr/>
                    <a:lstStyle/>
                    <a:p>
                      <a:pPr algn="r" fontAlgn="ctr"/>
                      <a:r>
                        <a:rPr lang="cs-CZ" sz="1200" b="1" i="0" u="none" strike="noStrike">
                          <a:solidFill>
                            <a:srgbClr val="000000"/>
                          </a:solidFill>
                          <a:effectLst/>
                          <a:latin typeface="Calibri" panose="020F0502020204030204" pitchFamily="34" charset="0"/>
                        </a:rPr>
                        <a:t>Legenda:  </a:t>
                      </a:r>
                    </a:p>
                  </a:txBody>
                  <a:tcPr marL="5101" marR="5101" marT="5101"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101" marR="5101" marT="5101"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101" marR="5101" marT="5101"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101" marR="5101" marT="5101"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101" marR="5101" marT="5101"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101" marR="5101" marT="5101"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 celkových kapacit</a:t>
                      </a:r>
                    </a:p>
                  </a:txBody>
                  <a:tcPr marL="5101" marR="5101" marT="5101" marB="0" anchor="ctr">
                    <a:lnL>
                      <a:noFill/>
                    </a:lnL>
                    <a:lnR>
                      <a:noFill/>
                    </a:lnR>
                    <a:lnT>
                      <a:noFill/>
                    </a:lnT>
                    <a:lnB>
                      <a:noFill/>
                    </a:lnB>
                  </a:tcPr>
                </a:tc>
                <a:extLst>
                  <a:ext uri="{0D108BD9-81ED-4DB2-BD59-A6C34878D82A}">
                    <a16:rowId xmlns:a16="http://schemas.microsoft.com/office/drawing/2014/main" val="3227062420"/>
                  </a:ext>
                </a:extLst>
              </a:tr>
              <a:tr h="186920">
                <a:tc gridSpan="3">
                  <a:txBody>
                    <a:bodyPr/>
                    <a:lstStyle/>
                    <a:p>
                      <a:pPr algn="r" fontAlgn="ctr"/>
                      <a:r>
                        <a:rPr lang="pl-PL" sz="1200" b="1" i="0" u="none" strike="noStrike">
                          <a:solidFill>
                            <a:srgbClr val="000000"/>
                          </a:solidFill>
                          <a:effectLst/>
                          <a:latin typeface="Calibri" panose="020F0502020204030204" pitchFamily="34" charset="0"/>
                        </a:rPr>
                        <a:t> Nemocnice s aktualizací starší 48 hod.: </a:t>
                      </a:r>
                    </a:p>
                  </a:txBody>
                  <a:tcPr marL="5101" marR="5101" marT="5101"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3x</a:t>
                      </a:r>
                      <a:endParaRPr lang="cs-CZ" sz="1200" b="1"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101" marR="5101" marT="5101" marB="0" anchor="ctr">
                    <a:lnL>
                      <a:noFill/>
                    </a:lnL>
                    <a:lnR>
                      <a:noFill/>
                    </a:lnR>
                    <a:lnT>
                      <a:noFill/>
                    </a:lnT>
                    <a:lnB>
                      <a:noFill/>
                    </a:lnB>
                  </a:tcPr>
                </a:tc>
                <a:extLst>
                  <a:ext uri="{0D108BD9-81ED-4DB2-BD59-A6C34878D82A}">
                    <a16:rowId xmlns:a16="http://schemas.microsoft.com/office/drawing/2014/main" val="3859910278"/>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486005" y="2147602"/>
            <a:ext cx="2786020" cy="1785104"/>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a:t>
            </a:r>
            <a:r>
              <a:rPr lang="cs-CZ" b="1" dirty="0" smtClean="0"/>
              <a:t>21</a:t>
            </a:r>
            <a:r>
              <a:rPr lang="cs-CZ" b="1" dirty="0" smtClean="0"/>
              <a:t>.11.2021 </a:t>
            </a:r>
            <a:r>
              <a:rPr lang="cs-CZ" b="1" dirty="0" smtClean="0"/>
              <a:t>00:20</a:t>
            </a:r>
          </a:p>
          <a:p>
            <a:pPr algn="ctr"/>
            <a:endParaRPr lang="cs-CZ" b="1" dirty="0"/>
          </a:p>
          <a:p>
            <a:pPr algn="ctr"/>
            <a:r>
              <a:rPr lang="cs-CZ" b="1" dirty="0" smtClean="0"/>
              <a:t>4107</a:t>
            </a:r>
            <a:endParaRPr lang="cs-CZ" b="1" dirty="0"/>
          </a:p>
          <a:p>
            <a:pPr algn="ctr"/>
            <a:endParaRPr lang="cs-CZ" sz="2000" b="1" dirty="0"/>
          </a:p>
        </p:txBody>
      </p:sp>
      <p:sp>
        <p:nvSpPr>
          <p:cNvPr id="3" name="TextovéPole 2"/>
          <p:cNvSpPr txBox="1"/>
          <p:nvPr/>
        </p:nvSpPr>
        <p:spPr>
          <a:xfrm>
            <a:off x="9645161" y="4001514"/>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9" name="Tabulka 8"/>
          <p:cNvGraphicFramePr>
            <a:graphicFrameLocks noGrp="1"/>
          </p:cNvGraphicFramePr>
          <p:nvPr>
            <p:extLst>
              <p:ext uri="{D42A27DB-BD31-4B8C-83A1-F6EECF244321}">
                <p14:modId xmlns:p14="http://schemas.microsoft.com/office/powerpoint/2010/main" val="4193618599"/>
              </p:ext>
            </p:extLst>
          </p:nvPr>
        </p:nvGraphicFramePr>
        <p:xfrm>
          <a:off x="332818" y="1025241"/>
          <a:ext cx="9312343" cy="5193241"/>
        </p:xfrm>
        <a:graphic>
          <a:graphicData uri="http://schemas.openxmlformats.org/drawingml/2006/table">
            <a:tbl>
              <a:tblPr/>
              <a:tblGrid>
                <a:gridCol w="2142236">
                  <a:extLst>
                    <a:ext uri="{9D8B030D-6E8A-4147-A177-3AD203B41FA5}">
                      <a16:colId xmlns:a16="http://schemas.microsoft.com/office/drawing/2014/main" val="375240010"/>
                    </a:ext>
                  </a:extLst>
                </a:gridCol>
                <a:gridCol w="1220081">
                  <a:extLst>
                    <a:ext uri="{9D8B030D-6E8A-4147-A177-3AD203B41FA5}">
                      <a16:colId xmlns:a16="http://schemas.microsoft.com/office/drawing/2014/main" val="742882761"/>
                    </a:ext>
                  </a:extLst>
                </a:gridCol>
                <a:gridCol w="1205895">
                  <a:extLst>
                    <a:ext uri="{9D8B030D-6E8A-4147-A177-3AD203B41FA5}">
                      <a16:colId xmlns:a16="http://schemas.microsoft.com/office/drawing/2014/main" val="3575659508"/>
                    </a:ext>
                  </a:extLst>
                </a:gridCol>
                <a:gridCol w="1205895">
                  <a:extLst>
                    <a:ext uri="{9D8B030D-6E8A-4147-A177-3AD203B41FA5}">
                      <a16:colId xmlns:a16="http://schemas.microsoft.com/office/drawing/2014/main" val="1245352854"/>
                    </a:ext>
                  </a:extLst>
                </a:gridCol>
                <a:gridCol w="1262642">
                  <a:extLst>
                    <a:ext uri="{9D8B030D-6E8A-4147-A177-3AD203B41FA5}">
                      <a16:colId xmlns:a16="http://schemas.microsoft.com/office/drawing/2014/main" val="1968270828"/>
                    </a:ext>
                  </a:extLst>
                </a:gridCol>
                <a:gridCol w="1262642">
                  <a:extLst>
                    <a:ext uri="{9D8B030D-6E8A-4147-A177-3AD203B41FA5}">
                      <a16:colId xmlns:a16="http://schemas.microsoft.com/office/drawing/2014/main" val="1993596129"/>
                    </a:ext>
                  </a:extLst>
                </a:gridCol>
                <a:gridCol w="1012952">
                  <a:extLst>
                    <a:ext uri="{9D8B030D-6E8A-4147-A177-3AD203B41FA5}">
                      <a16:colId xmlns:a16="http://schemas.microsoft.com/office/drawing/2014/main" val="266330341"/>
                    </a:ext>
                  </a:extLst>
                </a:gridCol>
              </a:tblGrid>
              <a:tr h="217382">
                <a:tc gridSpan="7">
                  <a:txBody>
                    <a:bodyPr/>
                    <a:lstStyle/>
                    <a:p>
                      <a:pPr algn="ctr" fontAlgn="ctr"/>
                      <a:r>
                        <a:rPr lang="cs-CZ" sz="1200" b="1" i="0" u="none" strike="noStrike" dirty="0">
                          <a:solidFill>
                            <a:srgbClr val="000000"/>
                          </a:solidFill>
                          <a:effectLst/>
                          <a:latin typeface="Calibri" panose="020F0502020204030204" pitchFamily="34" charset="0"/>
                        </a:rPr>
                        <a:t>Infekční a neinfekční oddělení</a:t>
                      </a:r>
                    </a:p>
                  </a:txBody>
                  <a:tcPr marL="5257" marR="5257" marT="5257"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546269117"/>
                  </a:ext>
                </a:extLst>
              </a:tr>
              <a:tr h="217382">
                <a:tc gridSpan="6">
                  <a:txBody>
                    <a:bodyPr/>
                    <a:lstStyle/>
                    <a:p>
                      <a:pPr algn="l" fontAlgn="ctr"/>
                      <a:r>
                        <a:rPr lang="cs-CZ" sz="1200" b="1" i="0" u="none" strike="noStrike">
                          <a:solidFill>
                            <a:srgbClr val="000000"/>
                          </a:solidFill>
                          <a:effectLst/>
                          <a:latin typeface="Calibri" panose="020F0502020204030204" pitchFamily="34" charset="0"/>
                        </a:rPr>
                        <a:t>Přehled kapacit standardních lůžek s přívodem kyslíku v ČR k 21.11. 2021, 11:00 h</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200" b="1"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1117625374"/>
                  </a:ext>
                </a:extLst>
              </a:tr>
              <a:tr h="192538">
                <a:tc>
                  <a:txBody>
                    <a:bodyPr/>
                    <a:lstStyle/>
                    <a:p>
                      <a:pPr algn="l" fontAlgn="ctr"/>
                      <a:r>
                        <a:rPr lang="cs-CZ" sz="1200" b="0" i="0" u="none" strike="noStrike" dirty="0">
                          <a:solidFill>
                            <a:srgbClr val="000000"/>
                          </a:solidFill>
                          <a:effectLst/>
                          <a:latin typeface="Calibri" panose="020F0502020204030204" pitchFamily="34" charset="0"/>
                        </a:rPr>
                        <a:t> </a:t>
                      </a: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1619394"/>
                  </a:ext>
                </a:extLst>
              </a:tr>
              <a:tr h="217382">
                <a:tc rowSpan="2">
                  <a:txBody>
                    <a:bodyPr/>
                    <a:lstStyle/>
                    <a:p>
                      <a:pPr algn="ctr" fontAlgn="ctr"/>
                      <a:r>
                        <a:rPr lang="cs-CZ" sz="1200" b="1" i="0" u="none" strike="noStrike">
                          <a:solidFill>
                            <a:srgbClr val="000000"/>
                          </a:solidFill>
                          <a:effectLst/>
                          <a:latin typeface="Calibri" panose="020F0502020204030204" pitchFamily="34" charset="0"/>
                        </a:rPr>
                        <a:t>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200" b="1" i="0" u="none" strike="noStrike" dirty="0">
                          <a:solidFill>
                            <a:srgbClr val="000000"/>
                          </a:solidFill>
                          <a:effectLst/>
                          <a:latin typeface="Calibri" panose="020F0502020204030204" pitchFamily="34" charset="0"/>
                        </a:rPr>
                        <a:t>Standardní lůžka s O</a:t>
                      </a:r>
                      <a:r>
                        <a:rPr lang="cs-CZ" sz="1200" b="1" i="0" u="none" strike="noStrike" baseline="-25000" dirty="0">
                          <a:solidFill>
                            <a:srgbClr val="000000"/>
                          </a:solidFill>
                          <a:effectLst/>
                          <a:latin typeface="Calibri" panose="020F0502020204030204" pitchFamily="34" charset="0"/>
                        </a:rPr>
                        <a:t>2</a:t>
                      </a:r>
                      <a:endParaRPr lang="cs-CZ" sz="1200" b="1" i="0" u="none" strike="noStrike" dirty="0">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cs-CZ" sz="1200" b="1" i="0" u="none" strike="noStrike">
                          <a:solidFill>
                            <a:srgbClr val="000000"/>
                          </a:solidFill>
                          <a:effectLst/>
                          <a:latin typeface="Calibri" panose="020F0502020204030204" pitchFamily="34" charset="0"/>
                        </a:rPr>
                        <a:t>Lůžka na Infekčním oddělení s O</a:t>
                      </a:r>
                      <a:r>
                        <a:rPr lang="cs-CZ" sz="1200" b="1" i="0" u="none" strike="noStrike" baseline="-25000">
                          <a:solidFill>
                            <a:srgbClr val="000000"/>
                          </a:solidFill>
                          <a:effectLst/>
                          <a:latin typeface="Calibri" panose="020F0502020204030204" pitchFamily="34" charset="0"/>
                        </a:rPr>
                        <a:t>2</a:t>
                      </a:r>
                      <a:endParaRPr lang="cs-CZ" sz="1200" b="1" i="0" u="none" strike="noStrike">
                        <a:solidFill>
                          <a:srgbClr val="000000"/>
                        </a:solidFill>
                        <a:effectLst/>
                        <a:latin typeface="Calibri" panose="020F0502020204030204" pitchFamily="34" charset="0"/>
                      </a:endParaRP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656077171"/>
                  </a:ext>
                </a:extLst>
              </a:tr>
              <a:tr h="565192">
                <a:tc vMerge="1">
                  <a:txBody>
                    <a:bodyPr/>
                    <a:lstStyle/>
                    <a:p>
                      <a:endParaRPr lang="cs-CZ"/>
                    </a:p>
                  </a:txBody>
                  <a:tcPr/>
                </a:tc>
                <a:tc>
                  <a:txBody>
                    <a:bodyPr/>
                    <a:lstStyle/>
                    <a:p>
                      <a:pPr algn="ctr" fontAlgn="ctr"/>
                      <a:r>
                        <a:rPr lang="cs-CZ" sz="1200" b="1" i="0" u="none" strike="noStrike" dirty="0">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dirty="0">
                          <a:solidFill>
                            <a:srgbClr val="000000"/>
                          </a:solidFill>
                          <a:effectLst/>
                          <a:latin typeface="Calibri" panose="020F0502020204030204" pitchFamily="34" charset="0"/>
                        </a:rPr>
                        <a:t>Volná standardní lůžk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Celková kapacita lůžek</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Volná lůžka na Infekčním oddělení</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200" b="1" i="0" u="none" strike="noStrike">
                          <a:solidFill>
                            <a:srgbClr val="000000"/>
                          </a:solidFill>
                          <a:effectLst/>
                          <a:latin typeface="Calibri" panose="020F0502020204030204" pitchFamily="34" charset="0"/>
                        </a:rPr>
                        <a:t>Z toho pro Covid+</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55840239"/>
                  </a:ext>
                </a:extLst>
              </a:tr>
              <a:tr h="186327">
                <a:tc>
                  <a:txBody>
                    <a:bodyPr/>
                    <a:lstStyle/>
                    <a:p>
                      <a:pPr algn="ctr" fontAlgn="ctr"/>
                      <a:r>
                        <a:rPr lang="cs-CZ" sz="1200" b="1" i="0" u="none" strike="noStrike">
                          <a:solidFill>
                            <a:srgbClr val="000000"/>
                          </a:solidFill>
                          <a:effectLst/>
                          <a:latin typeface="Calibri" panose="020F0502020204030204" pitchFamily="34" charset="0"/>
                        </a:rPr>
                        <a:t>Hl. m. Praha </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3 13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59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3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220359754"/>
                  </a:ext>
                </a:extLst>
              </a:tr>
              <a:tr h="186327">
                <a:tc>
                  <a:txBody>
                    <a:bodyPr/>
                    <a:lstStyle/>
                    <a:p>
                      <a:pPr algn="ctr" fontAlgn="ctr"/>
                      <a:r>
                        <a:rPr lang="cs-CZ" sz="1200" b="1" i="0" u="none" strike="noStrike">
                          <a:solidFill>
                            <a:srgbClr val="000000"/>
                          </a:solidFill>
                          <a:effectLst/>
                          <a:latin typeface="Calibri" panose="020F0502020204030204" pitchFamily="34" charset="0"/>
                        </a:rPr>
                        <a:t>Střed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84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5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dirty="0">
                          <a:solidFill>
                            <a:srgbClr val="000000"/>
                          </a:solidFill>
                          <a:effectLst/>
                          <a:latin typeface="Calibri" panose="020F0502020204030204" pitchFamily="34" charset="0"/>
                        </a:rPr>
                        <a:t>8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8662290"/>
                  </a:ext>
                </a:extLst>
              </a:tr>
              <a:tr h="186327">
                <a:tc>
                  <a:txBody>
                    <a:bodyPr/>
                    <a:lstStyle/>
                    <a:p>
                      <a:pPr algn="ctr" fontAlgn="ctr"/>
                      <a:r>
                        <a:rPr lang="cs-CZ" sz="1200" b="1" i="0" u="none" strike="noStrike">
                          <a:solidFill>
                            <a:srgbClr val="000000"/>
                          </a:solidFill>
                          <a:effectLst/>
                          <a:latin typeface="Calibri" panose="020F0502020204030204" pitchFamily="34" charset="0"/>
                        </a:rPr>
                        <a:t>Jihoče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46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dirty="0">
                          <a:solidFill>
                            <a:srgbClr val="000000"/>
                          </a:solidFill>
                          <a:effectLst/>
                          <a:latin typeface="Calibri" panose="020F0502020204030204" pitchFamily="34" charset="0"/>
                        </a:rPr>
                        <a:t>9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257743053"/>
                  </a:ext>
                </a:extLst>
              </a:tr>
              <a:tr h="186327">
                <a:tc>
                  <a:txBody>
                    <a:bodyPr/>
                    <a:lstStyle/>
                    <a:p>
                      <a:pPr algn="ctr" fontAlgn="ctr"/>
                      <a:r>
                        <a:rPr lang="cs-CZ" sz="1200" b="1" i="0" u="none" strike="noStrike">
                          <a:solidFill>
                            <a:srgbClr val="000000"/>
                          </a:solidFill>
                          <a:effectLst/>
                          <a:latin typeface="Calibri" panose="020F0502020204030204" pitchFamily="34" charset="0"/>
                        </a:rPr>
                        <a:t>Plzeň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63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5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94</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1691342"/>
                  </a:ext>
                </a:extLst>
              </a:tr>
              <a:tr h="186327">
                <a:tc>
                  <a:txBody>
                    <a:bodyPr/>
                    <a:lstStyle/>
                    <a:p>
                      <a:pPr algn="ctr" fontAlgn="ctr"/>
                      <a:r>
                        <a:rPr lang="cs-CZ" sz="1200" b="1" i="0" u="none" strike="noStrike">
                          <a:solidFill>
                            <a:srgbClr val="000000"/>
                          </a:solidFill>
                          <a:effectLst/>
                          <a:latin typeface="Calibri" panose="020F0502020204030204" pitchFamily="34" charset="0"/>
                        </a:rPr>
                        <a:t>Karlovar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41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6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dirty="0">
                          <a:solidFill>
                            <a:srgbClr val="000000"/>
                          </a:solidFill>
                          <a:effectLst/>
                          <a:latin typeface="Calibri" panose="020F0502020204030204" pitchFamily="34" charset="0"/>
                        </a:rPr>
                        <a:t>2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906825540"/>
                  </a:ext>
                </a:extLst>
              </a:tr>
              <a:tr h="186327">
                <a:tc>
                  <a:txBody>
                    <a:bodyPr/>
                    <a:lstStyle/>
                    <a:p>
                      <a:pPr algn="ctr" fontAlgn="ctr"/>
                      <a:r>
                        <a:rPr lang="cs-CZ" sz="1200" b="1" i="0" u="none" strike="noStrike">
                          <a:solidFill>
                            <a:srgbClr val="000000"/>
                          </a:solidFill>
                          <a:effectLst/>
                          <a:latin typeface="Calibri" panose="020F0502020204030204" pitchFamily="34" charset="0"/>
                        </a:rPr>
                        <a:t>Úst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9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50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85</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5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dirty="0">
                          <a:solidFill>
                            <a:srgbClr val="000000"/>
                          </a:solidFill>
                          <a:effectLst/>
                          <a:latin typeface="Calibri" panose="020F0502020204030204" pitchFamily="34" charset="0"/>
                        </a:rPr>
                        <a:t>1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40790581"/>
                  </a:ext>
                </a:extLst>
              </a:tr>
              <a:tr h="186327">
                <a:tc>
                  <a:txBody>
                    <a:bodyPr/>
                    <a:lstStyle/>
                    <a:p>
                      <a:pPr algn="ctr" fontAlgn="ctr"/>
                      <a:r>
                        <a:rPr lang="cs-CZ" sz="1200" b="1" i="0" u="none" strike="noStrike">
                          <a:solidFill>
                            <a:srgbClr val="000000"/>
                          </a:solidFill>
                          <a:effectLst/>
                          <a:latin typeface="Calibri" panose="020F0502020204030204" pitchFamily="34" charset="0"/>
                        </a:rPr>
                        <a:t>Liber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3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9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2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78201007"/>
                  </a:ext>
                </a:extLst>
              </a:tr>
              <a:tr h="186327">
                <a:tc>
                  <a:txBody>
                    <a:bodyPr/>
                    <a:lstStyle/>
                    <a:p>
                      <a:pPr algn="ctr" fontAlgn="ctr"/>
                      <a:r>
                        <a:rPr lang="cs-CZ" sz="1200" b="1" i="0" u="none" strike="noStrike">
                          <a:solidFill>
                            <a:srgbClr val="000000"/>
                          </a:solidFill>
                          <a:effectLst/>
                          <a:latin typeface="Calibri" panose="020F0502020204030204" pitchFamily="34" charset="0"/>
                        </a:rPr>
                        <a:t>Královéhrade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36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99</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200" b="0" i="0" u="none" strike="noStrike">
                          <a:solidFill>
                            <a:srgbClr val="000000"/>
                          </a:solidFill>
                          <a:effectLst/>
                          <a:latin typeface="Calibri" panose="020F0502020204030204" pitchFamily="34" charset="0"/>
                        </a:rPr>
                        <a:t>3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37965057"/>
                  </a:ext>
                </a:extLst>
              </a:tr>
              <a:tr h="186327">
                <a:tc>
                  <a:txBody>
                    <a:bodyPr/>
                    <a:lstStyle/>
                    <a:p>
                      <a:pPr algn="ctr" fontAlgn="ctr"/>
                      <a:r>
                        <a:rPr lang="cs-CZ" sz="1200" b="1" i="0" u="none" strike="noStrike">
                          <a:solidFill>
                            <a:srgbClr val="000000"/>
                          </a:solidFill>
                          <a:effectLst/>
                          <a:latin typeface="Calibri" panose="020F0502020204030204" pitchFamily="34" charset="0"/>
                        </a:rPr>
                        <a:t>Pardubi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889</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9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3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63701386"/>
                  </a:ext>
                </a:extLst>
              </a:tr>
              <a:tr h="186327">
                <a:tc>
                  <a:txBody>
                    <a:bodyPr/>
                    <a:lstStyle/>
                    <a:p>
                      <a:pPr algn="ctr" fontAlgn="ctr"/>
                      <a:r>
                        <a:rPr lang="cs-CZ" sz="1200" b="1" i="0" u="none" strike="noStrike">
                          <a:solidFill>
                            <a:srgbClr val="000000"/>
                          </a:solidFill>
                          <a:effectLst/>
                          <a:latin typeface="Calibri" panose="020F0502020204030204" pitchFamily="34" charset="0"/>
                        </a:rPr>
                        <a:t>Kraj Vysočina</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74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4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5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2</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17</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5023988"/>
                  </a:ext>
                </a:extLst>
              </a:tr>
              <a:tr h="186327">
                <a:tc>
                  <a:txBody>
                    <a:bodyPr/>
                    <a:lstStyle/>
                    <a:p>
                      <a:pPr algn="ctr" fontAlgn="ctr"/>
                      <a:r>
                        <a:rPr lang="cs-CZ" sz="1200" b="1" i="0" u="none" strike="noStrike">
                          <a:solidFill>
                            <a:srgbClr val="000000"/>
                          </a:solidFill>
                          <a:effectLst/>
                          <a:latin typeface="Calibri" panose="020F0502020204030204" pitchFamily="34" charset="0"/>
                        </a:rPr>
                        <a:t>Jihomorav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2 58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803</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200" b="0" i="0" u="none" strike="noStrike">
                          <a:solidFill>
                            <a:srgbClr val="000000"/>
                          </a:solidFill>
                          <a:effectLst/>
                          <a:latin typeface="Calibri" panose="020F0502020204030204" pitchFamily="34" charset="0"/>
                        </a:rPr>
                        <a:t>17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181</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dirty="0">
                          <a:solidFill>
                            <a:srgbClr val="000000"/>
                          </a:solidFill>
                          <a:effectLst/>
                          <a:latin typeface="Calibri" panose="020F0502020204030204" pitchFamily="34" charset="0"/>
                        </a:rPr>
                        <a:t>4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3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10655290"/>
                  </a:ext>
                </a:extLst>
              </a:tr>
              <a:tr h="186327">
                <a:tc>
                  <a:txBody>
                    <a:bodyPr/>
                    <a:lstStyle/>
                    <a:p>
                      <a:pPr algn="ctr" fontAlgn="ctr"/>
                      <a:r>
                        <a:rPr lang="cs-CZ" sz="1200" b="1" i="0" u="none" strike="noStrike">
                          <a:solidFill>
                            <a:srgbClr val="000000"/>
                          </a:solidFill>
                          <a:effectLst/>
                          <a:latin typeface="Calibri" panose="020F0502020204030204" pitchFamily="34" charset="0"/>
                        </a:rPr>
                        <a:t>Olomouc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 481</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43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5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94</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16</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6</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0798440"/>
                  </a:ext>
                </a:extLst>
              </a:tr>
              <a:tr h="186327">
                <a:tc>
                  <a:txBody>
                    <a:bodyPr/>
                    <a:lstStyle/>
                    <a:p>
                      <a:pPr algn="ctr" fontAlgn="ctr"/>
                      <a:r>
                        <a:rPr lang="cs-CZ" sz="1200" b="1" i="0" u="none" strike="noStrike">
                          <a:solidFill>
                            <a:srgbClr val="000000"/>
                          </a:solidFill>
                          <a:effectLst/>
                          <a:latin typeface="Calibri" panose="020F0502020204030204" pitchFamily="34" charset="0"/>
                        </a:rPr>
                        <a:t>Zlín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942</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252</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7</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0" i="0" u="none" strike="noStrike">
                          <a:solidFill>
                            <a:srgbClr val="000000"/>
                          </a:solidFill>
                          <a:effectLst/>
                          <a:latin typeface="Calibri" panose="020F0502020204030204" pitchFamily="34" charset="0"/>
                        </a:rPr>
                        <a:t>57</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200" b="1" i="0" u="none" strike="noStrike">
                          <a:solidFill>
                            <a:srgbClr val="000000"/>
                          </a:solidFill>
                          <a:effectLst/>
                          <a:latin typeface="Calibri" panose="020F0502020204030204" pitchFamily="34" charset="0"/>
                        </a:rPr>
                        <a:t>10</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200" b="0" i="0" u="none" strike="noStrike">
                          <a:solidFill>
                            <a:srgbClr val="000000"/>
                          </a:solidFill>
                          <a:effectLst/>
                          <a:latin typeface="Calibri" panose="020F0502020204030204" pitchFamily="34" charset="0"/>
                        </a:rPr>
                        <a:t>10</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909905987"/>
                  </a:ext>
                </a:extLst>
              </a:tr>
              <a:tr h="192538">
                <a:tc>
                  <a:txBody>
                    <a:bodyPr/>
                    <a:lstStyle/>
                    <a:p>
                      <a:pPr algn="ctr" fontAlgn="ctr"/>
                      <a:r>
                        <a:rPr lang="cs-CZ" sz="1200" b="1" i="0" u="none" strike="noStrike">
                          <a:solidFill>
                            <a:srgbClr val="000000"/>
                          </a:solidFill>
                          <a:effectLst/>
                          <a:latin typeface="Calibri" panose="020F0502020204030204" pitchFamily="34" charset="0"/>
                        </a:rPr>
                        <a:t>Moravskoslezský kraj</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 824</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a:solidFill>
                            <a:srgbClr val="000000"/>
                          </a:solidFill>
                          <a:effectLst/>
                          <a:latin typeface="Calibri" panose="020F0502020204030204" pitchFamily="34" charset="0"/>
                        </a:rPr>
                        <a:t>618</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0" i="0" u="none" strike="noStrike">
                          <a:solidFill>
                            <a:srgbClr val="000000"/>
                          </a:solidFill>
                          <a:effectLst/>
                          <a:latin typeface="Calibri" panose="020F0502020204030204" pitchFamily="34" charset="0"/>
                        </a:rPr>
                        <a:t>13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40</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11</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4074364"/>
                  </a:ext>
                </a:extLst>
              </a:tr>
              <a:tr h="209618">
                <a:tc>
                  <a:txBody>
                    <a:bodyPr/>
                    <a:lstStyle/>
                    <a:p>
                      <a:pPr algn="ctr" fontAlgn="ctr"/>
                      <a:r>
                        <a:rPr lang="cs-CZ" sz="1200" b="1" i="0" u="none" strike="noStrike">
                          <a:solidFill>
                            <a:srgbClr val="000000"/>
                          </a:solidFill>
                          <a:effectLst/>
                          <a:latin typeface="Calibri" panose="020F0502020204030204" pitchFamily="34" charset="0"/>
                        </a:rPr>
                        <a:t>Celkové kapacity ČR</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200" b="1" i="0" u="none" strike="noStrike">
                          <a:solidFill>
                            <a:srgbClr val="000000"/>
                          </a:solidFill>
                          <a:effectLst/>
                          <a:latin typeface="Calibri" panose="020F0502020204030204" pitchFamily="34" charset="0"/>
                        </a:rPr>
                        <a:t>22 818</a:t>
                      </a:r>
                    </a:p>
                  </a:txBody>
                  <a:tcPr marL="5257" marR="5257" marT="525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87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963</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038</a:t>
                      </a:r>
                    </a:p>
                  </a:txBody>
                  <a:tcPr marL="5257" marR="5257" marT="525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200" b="1" i="0" u="none" strike="noStrike" dirty="0">
                          <a:solidFill>
                            <a:srgbClr val="000000"/>
                          </a:solidFill>
                          <a:effectLst/>
                          <a:latin typeface="Calibri" panose="020F0502020204030204" pitchFamily="34" charset="0"/>
                        </a:rPr>
                        <a:t>216</a:t>
                      </a:r>
                    </a:p>
                  </a:txBody>
                  <a:tcPr marL="5257" marR="5257" marT="52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179</a:t>
                      </a:r>
                    </a:p>
                  </a:txBody>
                  <a:tcPr marL="5257" marR="5257" marT="525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5357867"/>
                  </a:ext>
                </a:extLst>
              </a:tr>
              <a:tr h="186327">
                <a:tc gridSpan="7">
                  <a:txBody>
                    <a:bodyPr/>
                    <a:lstStyle/>
                    <a:p>
                      <a:pPr algn="r" fontAlgn="ctr"/>
                      <a:r>
                        <a:rPr lang="cs-CZ" sz="1200" b="1" i="0" u="none" strike="noStrike" dirty="0">
                          <a:solidFill>
                            <a:srgbClr val="000000"/>
                          </a:solidFill>
                          <a:effectLst/>
                          <a:latin typeface="Calibri" panose="020F0502020204030204" pitchFamily="34" charset="0"/>
                        </a:rPr>
                        <a:t>                  Zdroj: Online databáze NDLP ÚZIS </a:t>
                      </a:r>
                    </a:p>
                  </a:txBody>
                  <a:tcPr marL="5257" marR="5257" marT="5257"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467217000"/>
                  </a:ext>
                </a:extLst>
              </a:tr>
              <a:tr h="186271">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292222794"/>
                  </a:ext>
                </a:extLst>
              </a:tr>
              <a:tr h="366330">
                <a:tc>
                  <a:txBody>
                    <a:bodyPr/>
                    <a:lstStyle/>
                    <a:p>
                      <a:pPr algn="r" fontAlgn="ctr"/>
                      <a:r>
                        <a:rPr lang="cs-CZ" sz="1200" b="1" i="0" u="none" strike="noStrike">
                          <a:solidFill>
                            <a:srgbClr val="000000"/>
                          </a:solidFill>
                          <a:effectLst/>
                          <a:latin typeface="Calibri" panose="020F0502020204030204" pitchFamily="34" charset="0"/>
                        </a:rPr>
                        <a:t>Legenda:  </a:t>
                      </a:r>
                    </a:p>
                  </a:txBody>
                  <a:tcPr marL="5257" marR="5257" marT="5257" marB="0" anchor="ctr">
                    <a:lnL>
                      <a:noFill/>
                    </a:lnL>
                    <a:lnR>
                      <a:noFill/>
                    </a:lnR>
                    <a:lnT>
                      <a:noFill/>
                    </a:lnT>
                    <a:lnB>
                      <a:noFill/>
                    </a:lnB>
                  </a:tcPr>
                </a:tc>
                <a:tc>
                  <a:txBody>
                    <a:bodyPr/>
                    <a:lstStyle/>
                    <a:p>
                      <a:pPr algn="ctr" fontAlgn="ctr"/>
                      <a:r>
                        <a:rPr lang="cs-CZ" sz="1200" b="1" i="0" u="none" strike="noStrike">
                          <a:solidFill>
                            <a:srgbClr val="000000"/>
                          </a:solidFill>
                          <a:effectLst/>
                          <a:latin typeface="Calibri" panose="020F0502020204030204" pitchFamily="34" charset="0"/>
                        </a:rPr>
                        <a:t>100 - 50,1 %</a:t>
                      </a:r>
                    </a:p>
                  </a:txBody>
                  <a:tcPr marL="5257" marR="5257" marT="5257" marB="0" anchor="ctr">
                    <a:lnL>
                      <a:noFill/>
                    </a:lnL>
                    <a:lnR>
                      <a:noFill/>
                    </a:lnR>
                    <a:lnT>
                      <a:noFill/>
                    </a:lnT>
                    <a:lnB>
                      <a:noFill/>
                    </a:lnB>
                    <a:solidFill>
                      <a:srgbClr val="00B050"/>
                    </a:solidFill>
                  </a:tcPr>
                </a:tc>
                <a:tc>
                  <a:txBody>
                    <a:bodyPr/>
                    <a:lstStyle/>
                    <a:p>
                      <a:pPr algn="ctr" fontAlgn="ctr"/>
                      <a:r>
                        <a:rPr lang="cs-CZ" sz="1200" b="1" i="0" u="none" strike="noStrike">
                          <a:solidFill>
                            <a:srgbClr val="000000"/>
                          </a:solidFill>
                          <a:effectLst/>
                          <a:latin typeface="Calibri" panose="020F0502020204030204" pitchFamily="34" charset="0"/>
                        </a:rPr>
                        <a:t>50 - 30,1 %</a:t>
                      </a:r>
                    </a:p>
                  </a:txBody>
                  <a:tcPr marL="5257" marR="5257" marT="5257" marB="0" anchor="ctr">
                    <a:lnL>
                      <a:noFill/>
                    </a:lnL>
                    <a:lnR>
                      <a:noFill/>
                    </a:lnR>
                    <a:lnT>
                      <a:noFill/>
                    </a:lnT>
                    <a:lnB>
                      <a:noFill/>
                    </a:lnB>
                    <a:solidFill>
                      <a:srgbClr val="A9D08E"/>
                    </a:solidFill>
                  </a:tcPr>
                </a:tc>
                <a:tc>
                  <a:txBody>
                    <a:bodyPr/>
                    <a:lstStyle/>
                    <a:p>
                      <a:pPr algn="ctr" fontAlgn="ctr"/>
                      <a:r>
                        <a:rPr lang="cs-CZ" sz="1200" b="1" i="0" u="none" strike="noStrike">
                          <a:solidFill>
                            <a:srgbClr val="000000"/>
                          </a:solidFill>
                          <a:effectLst/>
                          <a:latin typeface="Calibri" panose="020F0502020204030204" pitchFamily="34" charset="0"/>
                        </a:rPr>
                        <a:t>30 - 20,1 %</a:t>
                      </a:r>
                    </a:p>
                  </a:txBody>
                  <a:tcPr marL="5257" marR="5257" marT="5257" marB="0" anchor="ctr">
                    <a:lnL>
                      <a:noFill/>
                    </a:lnL>
                    <a:lnR>
                      <a:noFill/>
                    </a:lnR>
                    <a:lnT>
                      <a:noFill/>
                    </a:lnT>
                    <a:lnB>
                      <a:noFill/>
                    </a:lnB>
                    <a:solidFill>
                      <a:srgbClr val="FFD966"/>
                    </a:solidFill>
                  </a:tcPr>
                </a:tc>
                <a:tc>
                  <a:txBody>
                    <a:bodyPr/>
                    <a:lstStyle/>
                    <a:p>
                      <a:pPr algn="ctr" fontAlgn="ctr"/>
                      <a:r>
                        <a:rPr lang="cs-CZ" sz="1200" b="1" i="0" u="none" strike="noStrike">
                          <a:solidFill>
                            <a:srgbClr val="000000"/>
                          </a:solidFill>
                          <a:effectLst/>
                          <a:latin typeface="Calibri" panose="020F0502020204030204" pitchFamily="34" charset="0"/>
                        </a:rPr>
                        <a:t>20 - 10,1 %</a:t>
                      </a:r>
                    </a:p>
                  </a:txBody>
                  <a:tcPr marL="5257" marR="5257" marT="5257" marB="0" anchor="ctr">
                    <a:lnL>
                      <a:noFill/>
                    </a:lnL>
                    <a:lnR>
                      <a:noFill/>
                    </a:lnR>
                    <a:lnT>
                      <a:noFill/>
                    </a:lnT>
                    <a:lnB>
                      <a:noFill/>
                    </a:lnB>
                    <a:solidFill>
                      <a:srgbClr val="FA8976"/>
                    </a:solidFill>
                  </a:tcPr>
                </a:tc>
                <a:tc>
                  <a:txBody>
                    <a:bodyPr/>
                    <a:lstStyle/>
                    <a:p>
                      <a:pPr algn="ctr" fontAlgn="ctr"/>
                      <a:r>
                        <a:rPr lang="cs-CZ" sz="1200" b="1" i="0" u="none" strike="noStrike">
                          <a:solidFill>
                            <a:srgbClr val="000000"/>
                          </a:solidFill>
                          <a:effectLst/>
                          <a:latin typeface="Calibri" panose="020F0502020204030204" pitchFamily="34" charset="0"/>
                        </a:rPr>
                        <a:t>10 - 0 %</a:t>
                      </a:r>
                    </a:p>
                  </a:txBody>
                  <a:tcPr marL="5257" marR="5257" marT="5257" marB="0" anchor="ctr">
                    <a:lnL>
                      <a:noFill/>
                    </a:lnL>
                    <a:lnR>
                      <a:noFill/>
                    </a:lnR>
                    <a:lnT>
                      <a:noFill/>
                    </a:lnT>
                    <a:lnB>
                      <a:noFill/>
                    </a:lnB>
                    <a:solidFill>
                      <a:srgbClr val="FF0000"/>
                    </a:solidFill>
                  </a:tcPr>
                </a:tc>
                <a:tc>
                  <a:txBody>
                    <a:bodyPr/>
                    <a:lstStyle/>
                    <a:p>
                      <a:pPr algn="l" fontAlgn="ctr"/>
                      <a:r>
                        <a:rPr lang="cs-CZ" sz="1200" b="1" i="0" u="none" strike="noStrike" dirty="0">
                          <a:solidFill>
                            <a:srgbClr val="000000"/>
                          </a:solidFill>
                          <a:effectLst/>
                          <a:latin typeface="Calibri" panose="020F0502020204030204" pitchFamily="34" charset="0"/>
                        </a:rPr>
                        <a:t>celkových kapacit</a:t>
                      </a:r>
                    </a:p>
                  </a:txBody>
                  <a:tcPr marL="5257" marR="5257" marT="5257" marB="0" anchor="ctr">
                    <a:lnL>
                      <a:noFill/>
                    </a:lnL>
                    <a:lnR>
                      <a:noFill/>
                    </a:lnR>
                    <a:lnT>
                      <a:noFill/>
                    </a:lnT>
                    <a:lnB>
                      <a:noFill/>
                    </a:lnB>
                  </a:tcPr>
                </a:tc>
                <a:extLst>
                  <a:ext uri="{0D108BD9-81ED-4DB2-BD59-A6C34878D82A}">
                    <a16:rowId xmlns:a16="http://schemas.microsoft.com/office/drawing/2014/main" val="1584710815"/>
                  </a:ext>
                </a:extLst>
              </a:tr>
              <a:tr h="186327">
                <a:tc gridSpan="3">
                  <a:txBody>
                    <a:bodyPr/>
                    <a:lstStyle/>
                    <a:p>
                      <a:pPr algn="r" fontAlgn="ctr"/>
                      <a:r>
                        <a:rPr lang="pl-PL" sz="1200" b="1" i="0" u="none" strike="noStrike">
                          <a:solidFill>
                            <a:srgbClr val="000000"/>
                          </a:solidFill>
                          <a:effectLst/>
                          <a:latin typeface="Calibri" panose="020F0502020204030204" pitchFamily="34" charset="0"/>
                        </a:rPr>
                        <a:t>Nemocnice s aktualizací starší 48 hod.: </a:t>
                      </a:r>
                    </a:p>
                  </a:txBody>
                  <a:tcPr marL="5257" marR="5257" marT="5257"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200" b="1" i="0" u="none" strike="noStrike" dirty="0" smtClean="0">
                          <a:solidFill>
                            <a:srgbClr val="000000"/>
                          </a:solidFill>
                          <a:effectLst/>
                          <a:latin typeface="Calibri" panose="020F0502020204030204" pitchFamily="34" charset="0"/>
                        </a:rPr>
                        <a:t>3x</a:t>
                      </a:r>
                      <a:endParaRPr lang="cs-CZ" sz="1200" b="1"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tc>
                  <a:txBody>
                    <a:bodyPr/>
                    <a:lstStyle/>
                    <a:p>
                      <a:pPr algn="l" fontAlgn="ctr"/>
                      <a:endParaRPr lang="cs-CZ" sz="1200" b="0" i="0" u="none" strike="noStrike" dirty="0">
                        <a:solidFill>
                          <a:srgbClr val="000000"/>
                        </a:solidFill>
                        <a:effectLst/>
                        <a:latin typeface="Calibri" panose="020F0502020204030204" pitchFamily="34" charset="0"/>
                      </a:endParaRPr>
                    </a:p>
                  </a:txBody>
                  <a:tcPr marL="5257" marR="5257" marT="5257" marB="0" anchor="ctr">
                    <a:lnL>
                      <a:noFill/>
                    </a:lnL>
                    <a:lnR>
                      <a:noFill/>
                    </a:lnR>
                    <a:lnT>
                      <a:noFill/>
                    </a:lnT>
                    <a:lnB>
                      <a:noFill/>
                    </a:lnB>
                  </a:tcPr>
                </a:tc>
                <a:extLst>
                  <a:ext uri="{0D108BD9-81ED-4DB2-BD59-A6C34878D82A}">
                    <a16:rowId xmlns:a16="http://schemas.microsoft.com/office/drawing/2014/main" val="2876619769"/>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sz="2800" dirty="0" smtClean="0"/>
              <a:t>Seznam </a:t>
            </a:r>
            <a:r>
              <a:rPr lang="cs-CZ" sz="2800" dirty="0"/>
              <a:t>nemocnic neaktualizovaných déle než 48 h</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3" name="TextovéPole 2"/>
          <p:cNvSpPr txBox="1"/>
          <p:nvPr/>
        </p:nvSpPr>
        <p:spPr>
          <a:xfrm>
            <a:off x="8497376" y="2680092"/>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1</a:t>
            </a:r>
            <a:r>
              <a:rPr lang="cs-CZ" dirty="0" smtClean="0">
                <a:solidFill>
                  <a:srgbClr val="FF0000"/>
                </a:solidFill>
              </a:rPr>
              <a:t>.11.2021 </a:t>
            </a:r>
            <a:r>
              <a:rPr lang="cs-CZ" dirty="0" smtClean="0">
                <a:solidFill>
                  <a:srgbClr val="FF0000"/>
                </a:solidFill>
              </a:rPr>
              <a:t>11:00</a:t>
            </a:r>
            <a:endParaRPr lang="cs-CZ" dirty="0">
              <a:solidFill>
                <a:srgbClr val="FF0000"/>
              </a:solidFill>
            </a:endParaRPr>
          </a:p>
        </p:txBody>
      </p:sp>
      <p:graphicFrame>
        <p:nvGraphicFramePr>
          <p:cNvPr id="6" name="Tabulka 5"/>
          <p:cNvGraphicFramePr>
            <a:graphicFrameLocks noGrp="1"/>
          </p:cNvGraphicFramePr>
          <p:nvPr>
            <p:extLst>
              <p:ext uri="{D42A27DB-BD31-4B8C-83A1-F6EECF244321}">
                <p14:modId xmlns:p14="http://schemas.microsoft.com/office/powerpoint/2010/main" val="599791411"/>
              </p:ext>
            </p:extLst>
          </p:nvPr>
        </p:nvGraphicFramePr>
        <p:xfrm>
          <a:off x="1191490" y="1049513"/>
          <a:ext cx="5650699" cy="4267200"/>
        </p:xfrm>
        <a:graphic>
          <a:graphicData uri="http://schemas.openxmlformats.org/drawingml/2006/table">
            <a:tbl>
              <a:tblPr/>
              <a:tblGrid>
                <a:gridCol w="3266651">
                  <a:extLst>
                    <a:ext uri="{9D8B030D-6E8A-4147-A177-3AD203B41FA5}">
                      <a16:colId xmlns:a16="http://schemas.microsoft.com/office/drawing/2014/main" val="3426666017"/>
                    </a:ext>
                  </a:extLst>
                </a:gridCol>
                <a:gridCol w="672155">
                  <a:extLst>
                    <a:ext uri="{9D8B030D-6E8A-4147-A177-3AD203B41FA5}">
                      <a16:colId xmlns:a16="http://schemas.microsoft.com/office/drawing/2014/main" val="2497082261"/>
                    </a:ext>
                  </a:extLst>
                </a:gridCol>
                <a:gridCol w="1711893">
                  <a:extLst>
                    <a:ext uri="{9D8B030D-6E8A-4147-A177-3AD203B41FA5}">
                      <a16:colId xmlns:a16="http://schemas.microsoft.com/office/drawing/2014/main" val="1389098673"/>
                    </a:ext>
                  </a:extLst>
                </a:gridCol>
              </a:tblGrid>
              <a:tr h="350520">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Zdravotnické zařízení</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a:solidFill>
                            <a:srgbClr val="000000"/>
                          </a:solidFill>
                          <a:effectLst/>
                          <a:latin typeface="Calibri" panose="020F0502020204030204" pitchFamily="34" charset="0"/>
                          <a:cs typeface="Calibri" panose="020F0502020204030204" pitchFamily="34" charset="0"/>
                        </a:rPr>
                        <a:t>Kraj</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Aktualiz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9048847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Rehab</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err="1" smtClean="0">
                          <a:solidFill>
                            <a:srgbClr val="000000"/>
                          </a:solidFill>
                          <a:effectLst/>
                          <a:latin typeface="Calibri" panose="020F0502020204030204" pitchFamily="34" charset="0"/>
                          <a:cs typeface="Calibri" panose="020F0502020204030204" pitchFamily="34" charset="0"/>
                        </a:rPr>
                        <a:t>Nem</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Beroun </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87094912"/>
                  </a:ext>
                </a:extLst>
              </a:tr>
              <a:tr h="350520">
                <a:tc>
                  <a:txBody>
                    <a:bodyPr/>
                    <a:lstStyle/>
                    <a:p>
                      <a:pPr algn="l" fontAlgn="b"/>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 </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Nemocnice  </a:t>
                      </a:r>
                      <a:r>
                        <a:rPr lang="cs-CZ" sz="1400" b="1" i="0" u="none" strike="noStrike" baseline="0" dirty="0" smtClean="0">
                          <a:solidFill>
                            <a:srgbClr val="000000"/>
                          </a:solidFill>
                          <a:effectLst/>
                          <a:latin typeface="Calibri" panose="020F0502020204030204" pitchFamily="34" charset="0"/>
                          <a:cs typeface="Calibri" panose="020F0502020204030204" pitchFamily="34" charset="0"/>
                        </a:rPr>
                        <a:t>Kolín</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STČ</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5.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37205845"/>
                  </a:ext>
                </a:extLst>
              </a:tr>
              <a:tr h="350520">
                <a:tc>
                  <a:txBody>
                    <a:bodyPr/>
                    <a:lstStyle/>
                    <a:p>
                      <a:pPr algn="l" fontAlgn="b"/>
                      <a:r>
                        <a:rPr lang="cs-CZ" sz="1400" b="1" i="0" u="none" strike="noStrike" dirty="0" smtClean="0">
                          <a:solidFill>
                            <a:schemeClr val="tx1"/>
                          </a:solidFill>
                          <a:effectLst/>
                          <a:latin typeface="Calibri" panose="020F0502020204030204" pitchFamily="34" charset="0"/>
                          <a:cs typeface="Calibri" panose="020F0502020204030204" pitchFamily="34" charset="0"/>
                        </a:rPr>
                        <a:t>Oblastní nemocnice Turnov</a:t>
                      </a:r>
                      <a:endParaRPr lang="cs-CZ" sz="1400" b="1"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cs-CZ" sz="1400" b="1" i="0" u="none" strike="noStrike" dirty="0" smtClean="0">
                          <a:solidFill>
                            <a:srgbClr val="000000"/>
                          </a:solidFill>
                          <a:effectLst/>
                          <a:latin typeface="Calibri" panose="020F0502020204030204" pitchFamily="34" charset="0"/>
                          <a:cs typeface="Calibri" panose="020F0502020204030204" pitchFamily="34" charset="0"/>
                        </a:rPr>
                        <a:t>LBK</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cs-CZ" sz="1400" b="1" i="0" u="none" strike="noStrike" dirty="0" smtClean="0">
                          <a:solidFill>
                            <a:srgbClr val="000000"/>
                          </a:solidFill>
                          <a:effectLst/>
                          <a:latin typeface="Calibri" panose="020F0502020204030204" pitchFamily="34" charset="0"/>
                          <a:cs typeface="Calibri" panose="020F0502020204030204" pitchFamily="34" charset="0"/>
                        </a:rPr>
                        <a:t>17.11.21</a:t>
                      </a: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3999520"/>
                  </a:ext>
                </a:extLst>
              </a:tr>
              <a:tr h="350520">
                <a:tc>
                  <a:txBody>
                    <a:bodyPr/>
                    <a:lstStyle/>
                    <a:p>
                      <a:pPr algn="l" fontAlgn="b"/>
                      <a:endParaRPr lang="pl-PL"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5146081"/>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38302273"/>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84045096"/>
                  </a:ext>
                </a:extLst>
              </a:tr>
              <a:tr h="350520">
                <a:tc>
                  <a:txBody>
                    <a:bodyPr/>
                    <a:lstStyle/>
                    <a:p>
                      <a:pPr algn="l"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cs-CZ" sz="1400" b="1"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59400375"/>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900418"/>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135829"/>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7601650"/>
                  </a:ext>
                </a:extLst>
              </a:tr>
              <a:tr h="350520">
                <a:tc>
                  <a:txBody>
                    <a:bodyPr/>
                    <a:lstStyle/>
                    <a:p>
                      <a:pPr algn="l"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cs typeface="Calibri" panose="020F0502020204030204" pitchFamily="34" charset="0"/>
                      </a:endParaRP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7253910"/>
                  </a:ext>
                </a:extLst>
              </a:tr>
            </a:tbl>
          </a:graphicData>
        </a:graphic>
      </p:graphicFrame>
    </p:spTree>
    <p:extLst>
      <p:ext uri="{BB962C8B-B14F-4D97-AF65-F5344CB8AC3E}">
        <p14:creationId xmlns:p14="http://schemas.microsoft.com/office/powerpoint/2010/main" val="10268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celkového počtu hospitalizací – aktuální počet léčených </a:t>
            </a:r>
            <a:endParaRPr lang="cs-CZ" sz="1800" dirty="0">
              <a:solidFill>
                <a:srgbClr val="00FF00"/>
              </a:solidFill>
            </a:endParaRPr>
          </a:p>
        </p:txBody>
      </p:sp>
      <p:sp>
        <p:nvSpPr>
          <p:cNvPr id="24" name="TextBox 14">
            <a:extLst>
              <a:ext uri="{FF2B5EF4-FFF2-40B4-BE49-F238E27FC236}">
                <a16:creationId xmlns:a16="http://schemas.microsoft.com/office/drawing/2014/main" id="{49BB1F22-BFC8-45B7-97DF-9727BFB8A6AC}"/>
              </a:ext>
            </a:extLst>
          </p:cNvPr>
          <p:cNvSpPr txBox="1"/>
          <p:nvPr>
            <p:custDataLst>
              <p:tags r:id="rId2"/>
            </p:custDataLst>
          </p:nvPr>
        </p:nvSpPr>
        <p:spPr>
          <a:xfrm rot="16200000">
            <a:off x="-1314342" y="3518139"/>
            <a:ext cx="323999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redikovaný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3"/>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4"/>
            </p:custDataLst>
          </p:nvPr>
        </p:nvGrpSpPr>
        <p:grpSpPr>
          <a:xfrm>
            <a:off x="5186080" y="791990"/>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5"/>
            </p:custDataLst>
          </p:nvPr>
        </p:nvSpPr>
        <p:spPr>
          <a:xfrm>
            <a:off x="5192982" y="794653"/>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hospitalizovaných pacientů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9">
            <a:extLst>
              <a:ext uri="{FF2B5EF4-FFF2-40B4-BE49-F238E27FC236}">
                <a16:creationId xmlns:a16="http://schemas.microsoft.com/office/drawing/2014/main" id="{05521127-0A49-4BFA-BFA5-A4DFF340F949}"/>
              </a:ext>
            </a:extLst>
          </p:cNvPr>
          <p:cNvSpPr txBox="1"/>
          <p:nvPr>
            <p:custDataLst>
              <p:tags r:id="rId6"/>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29" name="Skupina 28">
            <a:extLst>
              <a:ext uri="{FF2B5EF4-FFF2-40B4-BE49-F238E27FC236}">
                <a16:creationId xmlns:a16="http://schemas.microsoft.com/office/drawing/2014/main" id="{B99EF33E-307F-4615-AFCD-D418703F9026}"/>
              </a:ext>
            </a:extLst>
          </p:cNvPr>
          <p:cNvGrpSpPr/>
          <p:nvPr>
            <p:custDataLst>
              <p:tags r:id="rId7"/>
            </p:custDataLst>
          </p:nvPr>
        </p:nvGrpSpPr>
        <p:grpSpPr>
          <a:xfrm>
            <a:off x="9973933" y="3835663"/>
            <a:ext cx="2221115" cy="2677656"/>
            <a:chOff x="9993159" y="3767843"/>
            <a:chExt cx="2221115" cy="2677656"/>
          </a:xfrm>
        </p:grpSpPr>
        <p:grpSp>
          <p:nvGrpSpPr>
            <p:cNvPr id="30" name="Skupina 29">
              <a:extLst>
                <a:ext uri="{FF2B5EF4-FFF2-40B4-BE49-F238E27FC236}">
                  <a16:creationId xmlns:a16="http://schemas.microsoft.com/office/drawing/2014/main" id="{1FAB45D9-59B0-49BB-9B40-CB0DC18F3E1A}"/>
                </a:ext>
              </a:extLst>
            </p:cNvPr>
            <p:cNvGrpSpPr/>
            <p:nvPr>
              <p:custDataLst>
                <p:tags r:id="rId9"/>
              </p:custDataLst>
            </p:nvPr>
          </p:nvGrpSpPr>
          <p:grpSpPr>
            <a:xfrm>
              <a:off x="9993159" y="3767843"/>
              <a:ext cx="2221115" cy="2677656"/>
              <a:chOff x="10258697" y="3526984"/>
              <a:chExt cx="2221115" cy="2677656"/>
            </a:xfrm>
          </p:grpSpPr>
          <p:cxnSp>
            <p:nvCxnSpPr>
              <p:cNvPr id="32" name="Přímá spojnice 31">
                <a:extLst>
                  <a:ext uri="{FF2B5EF4-FFF2-40B4-BE49-F238E27FC236}">
                    <a16:creationId xmlns:a16="http://schemas.microsoft.com/office/drawing/2014/main" id="{84896C59-8DDF-4774-BFE1-772C98DB8344}"/>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38" name="Přímá spojnice 37">
                <a:extLst>
                  <a:ext uri="{FF2B5EF4-FFF2-40B4-BE49-F238E27FC236}">
                    <a16:creationId xmlns:a16="http://schemas.microsoft.com/office/drawing/2014/main" id="{20FC9FC5-5570-4236-97BF-4F808F056D1F}"/>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39" name="Obdélník 38">
                <a:extLst>
                  <a:ext uri="{FF2B5EF4-FFF2-40B4-BE49-F238E27FC236}">
                    <a16:creationId xmlns:a16="http://schemas.microsoft.com/office/drawing/2014/main" id="{2F52F5CF-755A-4D7B-9792-4CA82BF1C11F}"/>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TextovéPole 28">
                <a:extLst>
                  <a:ext uri="{FF2B5EF4-FFF2-40B4-BE49-F238E27FC236}">
                    <a16:creationId xmlns:a16="http://schemas.microsoft.com/office/drawing/2014/main" id="{802AF519-1015-4C02-983B-068C3A8FA12D}"/>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1" name="Přímá spojnice 30">
              <a:extLst>
                <a:ext uri="{FF2B5EF4-FFF2-40B4-BE49-F238E27FC236}">
                  <a16:creationId xmlns:a16="http://schemas.microsoft.com/office/drawing/2014/main" id="{E5F734C9-E337-40C1-8246-E2413886CD6C}"/>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sp>
        <p:nvSpPr>
          <p:cNvPr id="21" name="TextovéPole 20">
            <a:extLst>
              <a:ext uri="{FF2B5EF4-FFF2-40B4-BE49-F238E27FC236}">
                <a16:creationId xmlns:a16="http://schemas.microsoft.com/office/drawing/2014/main" id="{C667541D-29FF-4AE0-ABEE-4C395FC7096A}"/>
              </a:ext>
            </a:extLst>
          </p:cNvPr>
          <p:cNvSpPr txBox="1"/>
          <p:nvPr/>
        </p:nvSpPr>
        <p:spPr>
          <a:xfrm>
            <a:off x="1099234" y="2451436"/>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až &gt; 6000 hospitalizací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Přímá spojnice se šipkou 21">
            <a:extLst>
              <a:ext uri="{FF2B5EF4-FFF2-40B4-BE49-F238E27FC236}">
                <a16:creationId xmlns:a16="http://schemas.microsoft.com/office/drawing/2014/main" id="{6ED8A3EF-3FCF-42DA-A572-9EE9901DA075}"/>
              </a:ext>
            </a:extLst>
          </p:cNvPr>
          <p:cNvCxnSpPr>
            <a:cxnSpLocks/>
          </p:cNvCxnSpPr>
          <p:nvPr/>
        </p:nvCxnSpPr>
        <p:spPr>
          <a:xfrm flipH="1">
            <a:off x="1049225" y="3639312"/>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D4F2EC29-D526-47ED-9E98-25E6BF3D69F2}"/>
              </a:ext>
            </a:extLst>
          </p:cNvPr>
          <p:cNvSpPr txBox="1"/>
          <p:nvPr>
            <p:custDataLst>
              <p:tags r:id="rId8"/>
            </p:custDataLst>
          </p:nvPr>
        </p:nvSpPr>
        <p:spPr>
          <a:xfrm>
            <a:off x="151763" y="1033098"/>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cxnSp>
        <p:nvCxnSpPr>
          <p:cNvPr id="5" name="Přímá spojnice 4">
            <a:extLst>
              <a:ext uri="{FF2B5EF4-FFF2-40B4-BE49-F238E27FC236}">
                <a16:creationId xmlns:a16="http://schemas.microsoft.com/office/drawing/2014/main" id="{38340B60-8287-44A7-811F-142A640C4649}"/>
              </a:ext>
            </a:extLst>
          </p:cNvPr>
          <p:cNvCxnSpPr>
            <a:cxnSpLocks/>
          </p:cNvCxnSpPr>
          <p:nvPr/>
        </p:nvCxnSpPr>
        <p:spPr>
          <a:xfrm flipH="1">
            <a:off x="6797870"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11">
            <a:extLst>
              <a:ext uri="{FF2B5EF4-FFF2-40B4-BE49-F238E27FC236}">
                <a16:creationId xmlns:a16="http://schemas.microsoft.com/office/drawing/2014/main" id="{3492DD38-6CCF-4B2E-AF24-5E9CC69186FA}"/>
              </a:ext>
            </a:extLst>
          </p:cNvPr>
          <p:cNvGraphicFramePr/>
          <p:nvPr/>
        </p:nvGraphicFramePr>
        <p:xfrm>
          <a:off x="377386" y="1767168"/>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2036190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154578" y="0"/>
            <a:ext cx="7440022" cy="576000"/>
          </a:xfrm>
        </p:spPr>
        <p:txBody>
          <a:bodyPr/>
          <a:lstStyle/>
          <a:p>
            <a:r>
              <a:rPr lang="cs-CZ" sz="1800" dirty="0"/>
              <a:t>Predikce počtu pacientů na JIP – aktuální počet případů </a:t>
            </a:r>
            <a:endParaRPr lang="cs-CZ" sz="1800" dirty="0">
              <a:solidFill>
                <a:srgbClr val="00FF00"/>
              </a:solidFill>
            </a:endParaRPr>
          </a:p>
        </p:txBody>
      </p:sp>
      <p:sp>
        <p:nvSpPr>
          <p:cNvPr id="23" name="TextovéPole 22">
            <a:extLst>
              <a:ext uri="{FF2B5EF4-FFF2-40B4-BE49-F238E27FC236}">
                <a16:creationId xmlns:a16="http://schemas.microsoft.com/office/drawing/2014/main" id="{7254C57B-23A2-45E4-9157-3C0592F87311}"/>
              </a:ext>
            </a:extLst>
          </p:cNvPr>
          <p:cNvSpPr txBox="1"/>
          <p:nvPr>
            <p:custDataLst>
              <p:tags r:id="rId2"/>
            </p:custDataLst>
          </p:nvPr>
        </p:nvSpPr>
        <p:spPr>
          <a:xfrm>
            <a:off x="154578" y="658863"/>
            <a:ext cx="26682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prstClr val="black"/>
                </a:solidFill>
                <a:effectLst/>
                <a:uLnTx/>
                <a:uFillTx/>
                <a:latin typeface="Arial" panose="020B0604020202020204"/>
                <a:ea typeface="+mn-ea"/>
                <a:cs typeface="+mn-cs"/>
              </a:rPr>
              <a:t>Česká republika</a:t>
            </a:r>
          </a:p>
        </p:txBody>
      </p:sp>
      <p:sp>
        <p:nvSpPr>
          <p:cNvPr id="24" name="TextBox 14">
            <a:extLst>
              <a:ext uri="{FF2B5EF4-FFF2-40B4-BE49-F238E27FC236}">
                <a16:creationId xmlns:a16="http://schemas.microsoft.com/office/drawing/2014/main" id="{49BB1F22-BFC8-45B7-97DF-9727BFB8A6AC}"/>
              </a:ext>
            </a:extLst>
          </p:cNvPr>
          <p:cNvSpPr txBox="1"/>
          <p:nvPr>
            <p:custDataLst>
              <p:tags r:id="rId3"/>
            </p:custDataLst>
          </p:nvPr>
        </p:nvSpPr>
        <p:spPr>
          <a:xfrm rot="16200000">
            <a:off x="-1254230" y="3518139"/>
            <a:ext cx="31197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Reálný a p</a:t>
            </a:r>
            <a:r>
              <a:rPr kumimoji="0" lang="cs-CZ" sz="1400" b="0" i="0" u="none" strike="noStrike" kern="1200" cap="none" spc="0" normalizeH="0" baseline="0" noProof="0" dirty="0" err="1">
                <a:ln>
                  <a:noFill/>
                </a:ln>
                <a:solidFill>
                  <a:prstClr val="black"/>
                </a:solidFill>
                <a:effectLst/>
                <a:uLnTx/>
                <a:uFillTx/>
                <a:latin typeface="Arial" panose="020B0604020202020204"/>
                <a:ea typeface="+mn-ea"/>
                <a:cs typeface="+mn-cs"/>
              </a:rPr>
              <a:t>redikovaný</a:t>
            </a: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 počet pacientů</a:t>
            </a:r>
          </a:p>
        </p:txBody>
      </p:sp>
      <p:sp>
        <p:nvSpPr>
          <p:cNvPr id="25" name="TextBox 31">
            <a:extLst>
              <a:ext uri="{FF2B5EF4-FFF2-40B4-BE49-F238E27FC236}">
                <a16:creationId xmlns:a16="http://schemas.microsoft.com/office/drawing/2014/main" id="{2B7B016C-730A-4D13-8F30-5D1F0893DC67}"/>
              </a:ext>
            </a:extLst>
          </p:cNvPr>
          <p:cNvSpPr txBox="1"/>
          <p:nvPr>
            <p:custDataLst>
              <p:tags r:id="rId4"/>
            </p:custDataLst>
          </p:nvPr>
        </p:nvSpPr>
        <p:spPr>
          <a:xfrm>
            <a:off x="265660" y="6088849"/>
            <a:ext cx="7120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Arial" panose="020B0604020202020204"/>
                <a:ea typeface="+mn-ea"/>
                <a:cs typeface="+mn-cs"/>
              </a:rPr>
              <a:t>Datum</a:t>
            </a:r>
          </a:p>
        </p:txBody>
      </p:sp>
      <p:grpSp>
        <p:nvGrpSpPr>
          <p:cNvPr id="34" name="Skupina 33">
            <a:extLst>
              <a:ext uri="{FF2B5EF4-FFF2-40B4-BE49-F238E27FC236}">
                <a16:creationId xmlns:a16="http://schemas.microsoft.com/office/drawing/2014/main" id="{A5D207FE-E9F1-45F3-900D-8666E5F661F4}"/>
              </a:ext>
            </a:extLst>
          </p:cNvPr>
          <p:cNvGrpSpPr/>
          <p:nvPr>
            <p:custDataLst>
              <p:tags r:id="rId5"/>
            </p:custDataLst>
          </p:nvPr>
        </p:nvGrpSpPr>
        <p:grpSpPr>
          <a:xfrm>
            <a:off x="5451256" y="872721"/>
            <a:ext cx="3864788" cy="787521"/>
            <a:chOff x="6462419" y="1469144"/>
            <a:chExt cx="3502394" cy="513208"/>
          </a:xfrm>
        </p:grpSpPr>
        <p:cxnSp>
          <p:nvCxnSpPr>
            <p:cNvPr id="35" name="Straight Connector 33">
              <a:extLst>
                <a:ext uri="{FF2B5EF4-FFF2-40B4-BE49-F238E27FC236}">
                  <a16:creationId xmlns:a16="http://schemas.microsoft.com/office/drawing/2014/main" id="{3CECE1E3-894F-454B-9321-BB2335652640}"/>
                </a:ext>
              </a:extLst>
            </p:cNvPr>
            <p:cNvCxnSpPr>
              <a:cxnSpLocks/>
            </p:cNvCxnSpPr>
            <p:nvPr/>
          </p:nvCxnSpPr>
          <p:spPr>
            <a:xfrm flipV="1">
              <a:off x="6470103" y="1469145"/>
              <a:ext cx="0" cy="513207"/>
            </a:xfrm>
            <a:prstGeom prst="line">
              <a:avLst/>
            </a:prstGeom>
            <a:noFill/>
            <a:ln w="28575" cap="flat" cmpd="sng" algn="ctr">
              <a:solidFill>
                <a:sysClr val="windowText" lastClr="000000"/>
              </a:solidFill>
              <a:prstDash val="solid"/>
              <a:miter lim="800000"/>
            </a:ln>
            <a:effectLst/>
          </p:spPr>
        </p:cxnSp>
        <p:cxnSp>
          <p:nvCxnSpPr>
            <p:cNvPr id="36" name="Straight Connector 34">
              <a:extLst>
                <a:ext uri="{FF2B5EF4-FFF2-40B4-BE49-F238E27FC236}">
                  <a16:creationId xmlns:a16="http://schemas.microsoft.com/office/drawing/2014/main" id="{C4559F46-D26D-49B4-A30F-D5ED1BE44696}"/>
                </a:ext>
              </a:extLst>
            </p:cNvPr>
            <p:cNvCxnSpPr>
              <a:cxnSpLocks/>
            </p:cNvCxnSpPr>
            <p:nvPr/>
          </p:nvCxnSpPr>
          <p:spPr>
            <a:xfrm>
              <a:off x="6462419" y="1469144"/>
              <a:ext cx="3502394" cy="0"/>
            </a:xfrm>
            <a:prstGeom prst="line">
              <a:avLst/>
            </a:prstGeom>
            <a:noFill/>
            <a:ln w="28575" cap="flat" cmpd="sng" algn="ctr">
              <a:solidFill>
                <a:sysClr val="windowText" lastClr="000000"/>
              </a:solidFill>
              <a:prstDash val="solid"/>
              <a:miter lim="800000"/>
              <a:headEnd type="none" w="med" len="med"/>
              <a:tailEnd type="triangle" w="med" len="med"/>
            </a:ln>
            <a:effectLst/>
          </p:spPr>
        </p:cxnSp>
      </p:grpSp>
      <p:sp>
        <p:nvSpPr>
          <p:cNvPr id="3" name="Obdélník 2">
            <a:extLst>
              <a:ext uri="{FF2B5EF4-FFF2-40B4-BE49-F238E27FC236}">
                <a16:creationId xmlns:a16="http://schemas.microsoft.com/office/drawing/2014/main" id="{239746E9-FF79-425B-B52E-C36853FB28DB}"/>
              </a:ext>
            </a:extLst>
          </p:cNvPr>
          <p:cNvSpPr/>
          <p:nvPr>
            <p:custDataLst>
              <p:tags r:id="rId6"/>
            </p:custDataLst>
          </p:nvPr>
        </p:nvSpPr>
        <p:spPr>
          <a:xfrm>
            <a:off x="5458158" y="875384"/>
            <a:ext cx="3956538" cy="738664"/>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srgbClr val="000000"/>
                </a:solidFill>
                <a:effectLst/>
                <a:uLnTx/>
                <a:uFillTx/>
                <a:latin typeface="Arial" panose="020B0604020202020204"/>
                <a:ea typeface="+mn-ea"/>
                <a:cs typeface="+mn-cs"/>
              </a:rPr>
              <a:t>Predikce počtu pacientů vyžadujících intenzivní péči na základě modelů při parametrech nemoci z období 10/2021–11/2021 pro různé scénáře</a:t>
            </a:r>
            <a:endParaRPr kumimoji="0" lang="cs-CZ"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7" name="TextovéPole 26">
            <a:extLst>
              <a:ext uri="{FF2B5EF4-FFF2-40B4-BE49-F238E27FC236}">
                <a16:creationId xmlns:a16="http://schemas.microsoft.com/office/drawing/2014/main" id="{FD48CE3B-709A-4318-87AD-D2060C509527}"/>
              </a:ext>
            </a:extLst>
          </p:cNvPr>
          <p:cNvSpPr txBox="1"/>
          <p:nvPr/>
        </p:nvSpPr>
        <p:spPr>
          <a:xfrm>
            <a:off x="1108378" y="2495860"/>
            <a:ext cx="5062223" cy="1077218"/>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1" u="none" strike="noStrike" kern="1200" cap="none" spc="0" normalizeH="0" baseline="0" noProof="0" dirty="0">
                <a:ln>
                  <a:noFill/>
                </a:ln>
                <a:solidFill>
                  <a:srgbClr val="FFFFFF"/>
                </a:solidFill>
                <a:effectLst/>
                <a:uLnTx/>
                <a:uFillTx/>
                <a:latin typeface="Calibri" panose="020F0502020204030204"/>
                <a:ea typeface="+mn-ea"/>
                <a:cs typeface="+mn-cs"/>
              </a:rPr>
              <a:t>Riziková struktura prevalence nově nakažených s vysokou pravděpodobností navýší zátěž nemocnic. K počátku prosince je možné očekávat &gt; 900 až &gt; 1 100 hospitalizací na JIP v jeden den.</a:t>
            </a:r>
            <a:endParaRPr kumimoji="0" lang="en-US" sz="1600" b="1" i="1" u="sng"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9" name="Přímá spojnice se šipkou 28">
            <a:extLst>
              <a:ext uri="{FF2B5EF4-FFF2-40B4-BE49-F238E27FC236}">
                <a16:creationId xmlns:a16="http://schemas.microsoft.com/office/drawing/2014/main" id="{E4A7B243-89CB-47CE-958A-321775A1AE03}"/>
              </a:ext>
            </a:extLst>
          </p:cNvPr>
          <p:cNvCxnSpPr>
            <a:cxnSpLocks/>
          </p:cNvCxnSpPr>
          <p:nvPr/>
        </p:nvCxnSpPr>
        <p:spPr>
          <a:xfrm flipH="1">
            <a:off x="1067513" y="3694176"/>
            <a:ext cx="8001643" cy="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8" name="TextBox 9">
            <a:extLst>
              <a:ext uri="{FF2B5EF4-FFF2-40B4-BE49-F238E27FC236}">
                <a16:creationId xmlns:a16="http://schemas.microsoft.com/office/drawing/2014/main" id="{911F45D9-9713-4E3F-9E29-7D6A6A0C82A5}"/>
              </a:ext>
            </a:extLst>
          </p:cNvPr>
          <p:cNvSpPr txBox="1"/>
          <p:nvPr>
            <p:custDataLst>
              <p:tags r:id="rId7"/>
            </p:custDataLst>
          </p:nvPr>
        </p:nvSpPr>
        <p:spPr>
          <a:xfrm>
            <a:off x="9969265" y="2981877"/>
            <a:ext cx="22257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Reálné počty hospitalizovaných a rozsah pravděpodobnostních predikcí </a:t>
            </a:r>
          </a:p>
        </p:txBody>
      </p:sp>
      <p:grpSp>
        <p:nvGrpSpPr>
          <p:cNvPr id="30" name="Skupina 29">
            <a:extLst>
              <a:ext uri="{FF2B5EF4-FFF2-40B4-BE49-F238E27FC236}">
                <a16:creationId xmlns:a16="http://schemas.microsoft.com/office/drawing/2014/main" id="{53BD0B13-1811-4DCF-8FDE-A608969C2F26}"/>
              </a:ext>
            </a:extLst>
          </p:cNvPr>
          <p:cNvGrpSpPr/>
          <p:nvPr>
            <p:custDataLst>
              <p:tags r:id="rId8"/>
            </p:custDataLst>
          </p:nvPr>
        </p:nvGrpSpPr>
        <p:grpSpPr>
          <a:xfrm>
            <a:off x="9973933" y="3835663"/>
            <a:ext cx="2221115" cy="2677656"/>
            <a:chOff x="9993159" y="3767843"/>
            <a:chExt cx="2221115" cy="2677656"/>
          </a:xfrm>
        </p:grpSpPr>
        <p:grpSp>
          <p:nvGrpSpPr>
            <p:cNvPr id="31" name="Skupina 30">
              <a:extLst>
                <a:ext uri="{FF2B5EF4-FFF2-40B4-BE49-F238E27FC236}">
                  <a16:creationId xmlns:a16="http://schemas.microsoft.com/office/drawing/2014/main" id="{DF6F809D-C097-41EB-AAB3-8CD9FF4FDAA9}"/>
                </a:ext>
              </a:extLst>
            </p:cNvPr>
            <p:cNvGrpSpPr/>
            <p:nvPr>
              <p:custDataLst>
                <p:tags r:id="rId9"/>
              </p:custDataLst>
            </p:nvPr>
          </p:nvGrpSpPr>
          <p:grpSpPr>
            <a:xfrm>
              <a:off x="9993159" y="3767843"/>
              <a:ext cx="2221115" cy="2677656"/>
              <a:chOff x="10258697" y="3526984"/>
              <a:chExt cx="2221115" cy="2677656"/>
            </a:xfrm>
          </p:grpSpPr>
          <p:cxnSp>
            <p:nvCxnSpPr>
              <p:cNvPr id="40" name="Přímá spojnice 39">
                <a:extLst>
                  <a:ext uri="{FF2B5EF4-FFF2-40B4-BE49-F238E27FC236}">
                    <a16:creationId xmlns:a16="http://schemas.microsoft.com/office/drawing/2014/main" id="{E6A34631-273A-4101-9D93-15F6C1E28CAD}"/>
                  </a:ext>
                </a:extLst>
              </p:cNvPr>
              <p:cNvCxnSpPr>
                <a:cxnSpLocks/>
              </p:cNvCxnSpPr>
              <p:nvPr/>
            </p:nvCxnSpPr>
            <p:spPr>
              <a:xfrm>
                <a:off x="10258697" y="3857019"/>
                <a:ext cx="360000" cy="0"/>
              </a:xfrm>
              <a:prstGeom prst="line">
                <a:avLst/>
              </a:prstGeom>
              <a:noFill/>
              <a:ln w="28575" cap="flat" cmpd="sng" algn="ctr">
                <a:solidFill>
                  <a:srgbClr val="690923"/>
                </a:solidFill>
                <a:prstDash val="solid"/>
                <a:miter lim="800000"/>
              </a:ln>
              <a:effectLst/>
            </p:spPr>
          </p:cxnSp>
          <p:cxnSp>
            <p:nvCxnSpPr>
              <p:cNvPr id="41" name="Přímá spojnice 40">
                <a:extLst>
                  <a:ext uri="{FF2B5EF4-FFF2-40B4-BE49-F238E27FC236}">
                    <a16:creationId xmlns:a16="http://schemas.microsoft.com/office/drawing/2014/main" id="{3198160F-60BD-42E9-9723-A44A334BE104}"/>
                  </a:ext>
                </a:extLst>
              </p:cNvPr>
              <p:cNvCxnSpPr>
                <a:cxnSpLocks/>
              </p:cNvCxnSpPr>
              <p:nvPr/>
            </p:nvCxnSpPr>
            <p:spPr>
              <a:xfrm>
                <a:off x="10258697" y="4577775"/>
                <a:ext cx="360000" cy="0"/>
              </a:xfrm>
              <a:prstGeom prst="line">
                <a:avLst/>
              </a:prstGeom>
              <a:noFill/>
              <a:ln w="28575" cap="flat" cmpd="sng" algn="ctr">
                <a:solidFill>
                  <a:srgbClr val="C00000"/>
                </a:solidFill>
                <a:prstDash val="solid"/>
                <a:miter lim="800000"/>
              </a:ln>
              <a:effectLst/>
            </p:spPr>
          </p:cxnSp>
          <p:sp>
            <p:nvSpPr>
              <p:cNvPr id="42" name="Obdélník 41">
                <a:extLst>
                  <a:ext uri="{FF2B5EF4-FFF2-40B4-BE49-F238E27FC236}">
                    <a16:creationId xmlns:a16="http://schemas.microsoft.com/office/drawing/2014/main" id="{3E03C5A3-1287-4A7C-96DE-85F516358B62}"/>
                  </a:ext>
                </a:extLst>
              </p:cNvPr>
              <p:cNvSpPr/>
              <p:nvPr/>
            </p:nvSpPr>
            <p:spPr>
              <a:xfrm>
                <a:off x="10262337" y="3620519"/>
                <a:ext cx="360000" cy="130628"/>
              </a:xfrm>
              <a:prstGeom prst="rect">
                <a:avLst/>
              </a:prstGeom>
              <a:solidFill>
                <a:srgbClr val="A6A6A6"/>
              </a:solidFill>
              <a:ln w="12700" cap="flat" cmpd="sng" algn="ctr">
                <a:noFill/>
                <a:prstDash val="solid"/>
                <a:miter lim="800000"/>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3" name="TextovéPole 28">
                <a:extLst>
                  <a:ext uri="{FF2B5EF4-FFF2-40B4-BE49-F238E27FC236}">
                    <a16:creationId xmlns:a16="http://schemas.microsoft.com/office/drawing/2014/main" id="{1D555824-6182-452A-A16B-6D0BD5BD23A1}"/>
                  </a:ext>
                </a:extLst>
              </p:cNvPr>
              <p:cNvSpPr txBox="1"/>
              <p:nvPr/>
            </p:nvSpPr>
            <p:spPr>
              <a:xfrm>
                <a:off x="10630650" y="3526984"/>
                <a:ext cx="1849162" cy="267765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000000"/>
                    </a:solidFill>
                    <a:effectLst/>
                    <a:uLnTx/>
                    <a:uFillTx/>
                    <a:latin typeface="Arial" panose="020B0604020202020204"/>
                    <a:ea typeface="+mn-ea"/>
                    <a:cs typeface="+mn-cs"/>
                  </a:rPr>
                  <a:t>Reálné hodno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horní hranice predikce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zikový</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třední hodnoty predik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izikový vývoj s významnými zdravotními dopady, </a:t>
                </a:r>
                <a:r>
                  <a:rPr kumimoji="0" lang="cs-CZ" sz="1200" b="0" i="0" u="sng" strike="noStrike" kern="1200" cap="none" spc="0" normalizeH="0" baseline="0" noProof="0" dirty="0">
                    <a:ln>
                      <a:noFill/>
                    </a:ln>
                    <a:solidFill>
                      <a:srgbClr val="000000"/>
                    </a:solidFill>
                    <a:effectLst/>
                    <a:uLnTx/>
                    <a:uFillTx/>
                    <a:latin typeface="Arial" panose="020B0604020202020204"/>
                    <a:ea typeface="+mn-ea"/>
                    <a:cs typeface="+mn-cs"/>
                  </a:rPr>
                  <a:t>spodní hranice predikce </a:t>
                </a: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sng"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cxnSp>
          <p:nvCxnSpPr>
            <p:cNvPr id="32" name="Přímá spojnice 31">
              <a:extLst>
                <a:ext uri="{FF2B5EF4-FFF2-40B4-BE49-F238E27FC236}">
                  <a16:creationId xmlns:a16="http://schemas.microsoft.com/office/drawing/2014/main" id="{E786808C-0FDF-4DBA-BF20-8E82E3DE0A1B}"/>
                </a:ext>
              </a:extLst>
            </p:cNvPr>
            <p:cNvCxnSpPr>
              <a:cxnSpLocks/>
            </p:cNvCxnSpPr>
            <p:nvPr>
              <p:custDataLst>
                <p:tags r:id="rId10"/>
              </p:custDataLst>
            </p:nvPr>
          </p:nvCxnSpPr>
          <p:spPr>
            <a:xfrm>
              <a:off x="9993159" y="5539090"/>
              <a:ext cx="360000" cy="0"/>
            </a:xfrm>
            <a:prstGeom prst="line">
              <a:avLst/>
            </a:prstGeom>
            <a:noFill/>
            <a:ln w="28575" cap="flat" cmpd="sng" algn="ctr">
              <a:solidFill>
                <a:srgbClr val="FF6600"/>
              </a:solidFill>
              <a:prstDash val="solid"/>
              <a:miter lim="800000"/>
            </a:ln>
            <a:effectLst/>
          </p:spPr>
        </p:cxnSp>
      </p:grpSp>
      <p:cxnSp>
        <p:nvCxnSpPr>
          <p:cNvPr id="45" name="Přímá spojnice 44">
            <a:extLst>
              <a:ext uri="{FF2B5EF4-FFF2-40B4-BE49-F238E27FC236}">
                <a16:creationId xmlns:a16="http://schemas.microsoft.com/office/drawing/2014/main" id="{18DE505A-E8F2-4CEF-AF17-94D8703ECD7E}"/>
              </a:ext>
            </a:extLst>
          </p:cNvPr>
          <p:cNvCxnSpPr>
            <a:cxnSpLocks/>
          </p:cNvCxnSpPr>
          <p:nvPr/>
        </p:nvCxnSpPr>
        <p:spPr>
          <a:xfrm flipH="1">
            <a:off x="6788726" y="3597564"/>
            <a:ext cx="590" cy="219047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aphicFrame>
        <p:nvGraphicFramePr>
          <p:cNvPr id="22" name="Chart 11">
            <a:extLst>
              <a:ext uri="{FF2B5EF4-FFF2-40B4-BE49-F238E27FC236}">
                <a16:creationId xmlns:a16="http://schemas.microsoft.com/office/drawing/2014/main" id="{E9EEC865-C096-42FA-95D5-832ACBA0CC46}"/>
              </a:ext>
            </a:extLst>
          </p:cNvPr>
          <p:cNvGraphicFramePr/>
          <p:nvPr/>
        </p:nvGraphicFramePr>
        <p:xfrm>
          <a:off x="386622" y="1856244"/>
          <a:ext cx="11805378" cy="4921702"/>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395100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t>lůžek s kyslíkem</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0</a:t>
            </a:r>
            <a:r>
              <a:rPr lang="cs-CZ" dirty="0" smtClean="0">
                <a:solidFill>
                  <a:srgbClr val="FF0000"/>
                </a:solidFill>
              </a:rPr>
              <a:t>.11.2021 06:56</a:t>
            </a:r>
            <a:endParaRPr lang="cs-CZ" dirty="0">
              <a:solidFill>
                <a:srgbClr val="FF0000"/>
              </a:solidFill>
            </a:endParaRPr>
          </a:p>
        </p:txBody>
      </p:sp>
    </p:spTree>
    <p:extLst>
      <p:ext uri="{BB962C8B-B14F-4D97-AF65-F5344CB8AC3E}">
        <p14:creationId xmlns:p14="http://schemas.microsoft.com/office/powerpoint/2010/main" val="1859521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5" name="Tabulka 4"/>
          <p:cNvGraphicFramePr>
            <a:graphicFrameLocks noGrp="1"/>
          </p:cNvGraphicFramePr>
          <p:nvPr>
            <p:extLst>
              <p:ext uri="{D42A27DB-BD31-4B8C-83A1-F6EECF244321}">
                <p14:modId xmlns:p14="http://schemas.microsoft.com/office/powerpoint/2010/main" val="913401914"/>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3 </a:t>
                      </a: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585</a:t>
                      </a:r>
                      <a:endParaRPr lang="cs-CZ" sz="1600" b="0" i="0" u="none" strike="noStrike" dirty="0" smtClean="0">
                        <a:solidFill>
                          <a:sysClr val="windowText" lastClr="000000"/>
                        </a:solidFill>
                        <a:effectLst/>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29,8 </a:t>
                      </a:r>
                      <a:r>
                        <a:rPr lang="cs-CZ" sz="160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20,0</a:t>
                      </a:r>
                      <a:r>
                        <a:rPr lang="cs-CZ" sz="1600" baseline="0" dirty="0" smtClean="0">
                          <a:solidFill>
                            <a:sysClr val="windowText" lastClr="000000"/>
                          </a:solidFill>
                          <a:latin typeface="Calibri" panose="020F0502020204030204" pitchFamily="34" charset="0"/>
                          <a:cs typeface="Calibri" panose="020F0502020204030204" pitchFamily="34" charset="0"/>
                        </a:rPr>
                        <a:t> </a:t>
                      </a:r>
                      <a:r>
                        <a:rPr lang="cs-CZ" sz="1600" baseline="0" dirty="0" smtClean="0">
                          <a:solidFill>
                            <a:sysClr val="windowText" lastClr="000000"/>
                          </a:solidFill>
                          <a:latin typeface="Calibri" panose="020F0502020204030204" pitchFamily="34" charset="0"/>
                          <a:cs typeface="Calibri" panose="020F0502020204030204" pitchFamily="34" charset="0"/>
                        </a:rPr>
                        <a:t>%</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6" name="TextovéPole 5"/>
          <p:cNvSpPr txBox="1"/>
          <p:nvPr/>
        </p:nvSpPr>
        <p:spPr>
          <a:xfrm>
            <a:off x="8617671" y="4968723"/>
            <a:ext cx="2329962" cy="646331"/>
          </a:xfrm>
          <a:prstGeom prst="rect">
            <a:avLst/>
          </a:prstGeom>
          <a:noFill/>
        </p:spPr>
        <p:txBody>
          <a:bodyPr wrap="square" rtlCol="0">
            <a:spAutoFit/>
          </a:bodyPr>
          <a:lstStyle/>
          <a:p>
            <a:pPr algn="ctr"/>
            <a:r>
              <a:rPr lang="cs-CZ" dirty="0" smtClean="0">
                <a:solidFill>
                  <a:srgbClr val="FF0000"/>
                </a:solidFill>
              </a:rPr>
              <a:t>Údaje jsou aktuální k </a:t>
            </a:r>
            <a:r>
              <a:rPr lang="cs-CZ" dirty="0" smtClean="0">
                <a:solidFill>
                  <a:srgbClr val="FF0000"/>
                </a:solidFill>
              </a:rPr>
              <a:t>21</a:t>
            </a:r>
            <a:r>
              <a:rPr lang="cs-CZ" dirty="0" smtClean="0">
                <a:solidFill>
                  <a:srgbClr val="FF0000"/>
                </a:solidFill>
              </a:rPr>
              <a:t>.11.2021 </a:t>
            </a:r>
            <a:r>
              <a:rPr lang="cs-CZ" dirty="0" smtClean="0">
                <a:solidFill>
                  <a:srgbClr val="FF0000"/>
                </a:solidFill>
              </a:rPr>
              <a:t>06</a:t>
            </a:r>
            <a:r>
              <a:rPr lang="cs-CZ" dirty="0" smtClean="0">
                <a:solidFill>
                  <a:srgbClr val="FF0000"/>
                </a:solidFill>
              </a:rPr>
              <a:t>:56</a:t>
            </a:r>
            <a:endParaRPr lang="cs-CZ" dirty="0">
              <a:solidFill>
                <a:srgbClr val="FF0000"/>
              </a:solidFill>
            </a:endParaRPr>
          </a:p>
        </p:txBody>
      </p:sp>
    </p:spTree>
    <p:extLst>
      <p:ext uri="{BB962C8B-B14F-4D97-AF65-F5344CB8AC3E}">
        <p14:creationId xmlns:p14="http://schemas.microsoft.com/office/powerpoint/2010/main" val="3774057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ovid-reporting-20200715</Template>
  <TotalTime>20961</TotalTime>
  <Words>2138</Words>
  <Application>Microsoft Office PowerPoint</Application>
  <PresentationFormat>Širokoúhlá obrazovka</PresentationFormat>
  <Paragraphs>542</Paragraphs>
  <Slides>17</Slides>
  <Notes>3</Notes>
  <HiddenSlides>0</HiddenSlides>
  <MMClips>0</MMClips>
  <ScaleCrop>false</ScaleCrop>
  <HeadingPairs>
    <vt:vector size="6" baseType="variant">
      <vt:variant>
        <vt:lpstr>Použitá písma</vt:lpstr>
      </vt:variant>
      <vt:variant>
        <vt:i4>6</vt:i4>
      </vt:variant>
      <vt:variant>
        <vt:lpstr>Motiv</vt:lpstr>
      </vt:variant>
      <vt:variant>
        <vt:i4>2</vt:i4>
      </vt:variant>
      <vt:variant>
        <vt:lpstr>Nadpisy snímků</vt:lpstr>
      </vt:variant>
      <vt:variant>
        <vt:i4>17</vt:i4>
      </vt:variant>
    </vt:vector>
  </HeadingPairs>
  <TitlesOfParts>
    <vt:vector size="25" baseType="lpstr">
      <vt:lpstr>Arial</vt:lpstr>
      <vt:lpstr>Arial Black</vt:lpstr>
      <vt:lpstr>Calibri</vt:lpstr>
      <vt:lpstr>Segoe UI</vt:lpstr>
      <vt:lpstr>Times New Roman</vt:lpstr>
      <vt:lpstr>Tw Cen MT Condensed</vt:lpstr>
      <vt:lpstr>Motiv Office</vt:lpstr>
      <vt:lpstr>1_Motiv Office</vt:lpstr>
      <vt:lpstr>Operační briefing ICŘT   Národní dispečink lůžkové péče </vt:lpstr>
      <vt:lpstr>Národní dispečink lůžkové péče</vt:lpstr>
      <vt:lpstr>Národní dispečink lůžkové péče</vt:lpstr>
      <vt:lpstr>Národní dispečink lůžkové péče</vt:lpstr>
      <vt:lpstr>Seznam nemocnic neaktualizovaných déle než 48 h </vt:lpstr>
      <vt:lpstr>Predikce celkového počtu hospitalizací – aktuální počet léčených </vt:lpstr>
      <vt:lpstr>Predikce počtu pacientů na JIP – aktuální počet případů </vt:lpstr>
      <vt:lpstr>Podíl (%) volné aktuálně nahlášené kapacity standartních lůžek s kyslíkem</vt:lpstr>
      <vt:lpstr>Podíl (%) volné aktuálně nahlášené kapacity JIP</vt:lpstr>
      <vt:lpstr>Podíl (%) volné aktuálně nahlášené kapacity UPV</vt:lpstr>
      <vt:lpstr>VÝVOJ POČTU HOSPITALIZACÍ – CELKOVÉ A JIP – OD BŘEZNA 2020 zdroj: ÚZIS, ISIN / COVID-19 - Informační systém infekční nemoci  STAV K 15.11.2021</vt:lpstr>
      <vt:lpstr>Trend zátěže nemocnic </vt:lpstr>
      <vt:lpstr>Prezentace aplikace PowerPoint</vt:lpstr>
      <vt:lpstr>Hodnocení situace v krajích</vt:lpstr>
      <vt:lpstr>Hodnocení situace v krajích </vt:lpstr>
      <vt:lpstr>Hodnocení situace v krajích </vt:lpstr>
      <vt:lpstr>Hodnocení situace v krajíc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Milan Havránek</cp:lastModifiedBy>
  <cp:revision>1508</cp:revision>
  <cp:lastPrinted>2020-10-20T04:21:56Z</cp:lastPrinted>
  <dcterms:created xsi:type="dcterms:W3CDTF">2020-07-15T10:33:32Z</dcterms:created>
  <dcterms:modified xsi:type="dcterms:W3CDTF">2021-11-21T10:03:08Z</dcterms:modified>
</cp:coreProperties>
</file>